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theme/theme3.xml" ContentType="application/vnd.openxmlformats-officedocument.theme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4.xml" ContentType="application/vnd.openxmlformats-officedocument.theme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theme/theme5.xml" ContentType="application/vnd.openxmlformats-officedocument.theme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ags/tag179.xml" ContentType="application/vnd.openxmlformats-officedocument.presentationml.tags+xml"/>
  <Override PartName="/ppt/theme/theme6.xml" ContentType="application/vnd.openxmlformats-officedocument.theme+xml"/>
  <Override PartName="/ppt/theme/theme7.xml" ContentType="application/vnd.openxmlformats-officedocument.theme+xml"/>
  <Override PartName="/ppt/tags/tag180.xml" ContentType="application/vnd.openxmlformats-officedocument.presentationml.tags+xml"/>
  <Override PartName="/ppt/notesSlides/notesSlide1.xml" ContentType="application/vnd.openxmlformats-officedocument.presentationml.notesSlide+xml"/>
  <Override PartName="/ppt/tags/tag181.xml" ContentType="application/vnd.openxmlformats-officedocument.presentationml.tags+xml"/>
  <Override PartName="/ppt/notesSlides/notesSlide2.xml" ContentType="application/vnd.openxmlformats-officedocument.presentationml.notesSlide+xml"/>
  <Override PartName="/ppt/tags/tag182.xml" ContentType="application/vnd.openxmlformats-officedocument.presentationml.tags+xml"/>
  <Override PartName="/ppt/notesSlides/notesSlide3.xml" ContentType="application/vnd.openxmlformats-officedocument.presentationml.notesSlide+xml"/>
  <Override PartName="/ppt/tags/tag183.xml" ContentType="application/vnd.openxmlformats-officedocument.presentationml.tags+xml"/>
  <Override PartName="/ppt/notesSlides/notesSlide4.xml" ContentType="application/vnd.openxmlformats-officedocument.presentationml.notesSlide+xml"/>
  <Override PartName="/ppt/tags/tag184.xml" ContentType="application/vnd.openxmlformats-officedocument.presentationml.tags+xml"/>
  <Override PartName="/ppt/notesSlides/notesSlide5.xml" ContentType="application/vnd.openxmlformats-officedocument.presentationml.notesSlide+xml"/>
  <Override PartName="/ppt/tags/tag185.xml" ContentType="application/vnd.openxmlformats-officedocument.presentationml.tags+xml"/>
  <Override PartName="/ppt/notesSlides/notesSlide6.xml" ContentType="application/vnd.openxmlformats-officedocument.presentationml.notesSlide+xml"/>
  <Override PartName="/ppt/charts/chart1.xml" ContentType="application/vnd.openxmlformats-officedocument.drawingml.chart+xml"/>
  <Override PartName="/ppt/theme/themeOverride1.xml" ContentType="application/vnd.openxmlformats-officedocument.themeOverride+xml"/>
  <Override PartName="/ppt/tags/tag186.xml" ContentType="application/vnd.openxmlformats-officedocument.presentationml.tags+xml"/>
  <Override PartName="/ppt/notesSlides/notesSlide7.xml" ContentType="application/vnd.openxmlformats-officedocument.presentationml.notesSlide+xml"/>
  <Override PartName="/ppt/tags/tag187.xml" ContentType="application/vnd.openxmlformats-officedocument.presentationml.tags+xml"/>
  <Override PartName="/ppt/notesSlides/notesSlide8.xml" ContentType="application/vnd.openxmlformats-officedocument.presentationml.notesSlide+xml"/>
  <Override PartName="/ppt/tags/tag188.xml" ContentType="application/vnd.openxmlformats-officedocument.presentationml.tags+xml"/>
  <Override PartName="/ppt/notesSlides/notesSlide9.xml" ContentType="application/vnd.openxmlformats-officedocument.presentationml.notesSlide+xml"/>
  <Override PartName="/ppt/charts/chart2.xml" ContentType="application/vnd.openxmlformats-officedocument.drawingml.chart+xml"/>
  <Override PartName="/ppt/theme/themeOverride2.xml" ContentType="application/vnd.openxmlformats-officedocument.themeOverride+xml"/>
  <Override PartName="/ppt/tags/tag189.xml" ContentType="application/vnd.openxmlformats-officedocument.presentationml.tags+xml"/>
  <Override PartName="/ppt/notesSlides/notesSlide10.xml" ContentType="application/vnd.openxmlformats-officedocument.presentationml.notesSlide+xml"/>
  <Override PartName="/ppt/tags/tag190.xml" ContentType="application/vnd.openxmlformats-officedocument.presentationml.tags+xml"/>
  <Override PartName="/ppt/notesSlides/notesSlide11.xml" ContentType="application/vnd.openxmlformats-officedocument.presentationml.notesSlide+xml"/>
  <Override PartName="/ppt/charts/chart3.xml" ContentType="application/vnd.openxmlformats-officedocument.drawingml.chart+xml"/>
  <Override PartName="/ppt/theme/themeOverride3.xml" ContentType="application/vnd.openxmlformats-officedocument.themeOverride+xml"/>
  <Override PartName="/ppt/tags/tag191.xml" ContentType="application/vnd.openxmlformats-officedocument.presentationml.tags+xml"/>
  <Override PartName="/ppt/notesSlides/notesSlide12.xml" ContentType="application/vnd.openxmlformats-officedocument.presentationml.notesSlide+xml"/>
  <Override PartName="/ppt/tags/tag192.xml" ContentType="application/vnd.openxmlformats-officedocument.presentationml.tags+xml"/>
  <Override PartName="/ppt/notesSlides/notesSlide13.xml" ContentType="application/vnd.openxmlformats-officedocument.presentationml.notesSlide+xml"/>
  <Override PartName="/ppt/tags/tag193.xml" ContentType="application/vnd.openxmlformats-officedocument.presentationml.tags+xml"/>
  <Override PartName="/ppt/notesSlides/notesSlide14.xml" ContentType="application/vnd.openxmlformats-officedocument.presentationml.notesSlide+xml"/>
  <Override PartName="/ppt/tags/tag194.xml" ContentType="application/vnd.openxmlformats-officedocument.presentationml.tags+xml"/>
  <Override PartName="/ppt/notesSlides/notesSlide15.xml" ContentType="application/vnd.openxmlformats-officedocument.presentationml.notesSlide+xml"/>
  <Override PartName="/ppt/tags/tag195.xml" ContentType="application/vnd.openxmlformats-officedocument.presentationml.tags+xml"/>
  <Override PartName="/ppt/notesSlides/notesSlide16.xml" ContentType="application/vnd.openxmlformats-officedocument.presentationml.notesSlide+xml"/>
  <Override PartName="/ppt/tags/tag196.xml" ContentType="application/vnd.openxmlformats-officedocument.presentationml.tags+xml"/>
  <Override PartName="/ppt/notesSlides/notesSlide17.xml" ContentType="application/vnd.openxmlformats-officedocument.presentationml.notesSlide+xml"/>
  <Override PartName="/ppt/tags/tag197.xml" ContentType="application/vnd.openxmlformats-officedocument.presentationml.tags+xml"/>
  <Override PartName="/ppt/notesSlides/notesSlide18.xml" ContentType="application/vnd.openxmlformats-officedocument.presentationml.notesSlide+xml"/>
  <Override PartName="/ppt/tags/tag198.xml" ContentType="application/vnd.openxmlformats-officedocument.presentationml.tags+xml"/>
  <Override PartName="/ppt/notesSlides/notesSlide19.xml" ContentType="application/vnd.openxmlformats-officedocument.presentationml.notesSlide+xml"/>
  <Override PartName="/ppt/tags/tag199.xml" ContentType="application/vnd.openxmlformats-officedocument.presentationml.tags+xml"/>
  <Override PartName="/ppt/notesSlides/notesSlide20.xml" ContentType="application/vnd.openxmlformats-officedocument.presentationml.notesSlide+xml"/>
  <Override PartName="/ppt/tags/tag200.xml" ContentType="application/vnd.openxmlformats-officedocument.presentationml.tags+xml"/>
  <Override PartName="/ppt/notesSlides/notesSlide21.xml" ContentType="application/vnd.openxmlformats-officedocument.presentationml.notesSlide+xml"/>
  <Override PartName="/ppt/tags/tag201.xml" ContentType="application/vnd.openxmlformats-officedocument.presentationml.tags+xml"/>
  <Override PartName="/ppt/notesSlides/notesSlide22.xml" ContentType="application/vnd.openxmlformats-officedocument.presentationml.notesSlide+xml"/>
  <Override PartName="/ppt/tags/tag202.xml" ContentType="application/vnd.openxmlformats-officedocument.presentationml.tags+xml"/>
  <Override PartName="/ppt/notesSlides/notesSlide23.xml" ContentType="application/vnd.openxmlformats-officedocument.presentationml.notesSlide+xml"/>
  <Override PartName="/ppt/tags/tag203.xml" ContentType="application/vnd.openxmlformats-officedocument.presentationml.tags+xml"/>
  <Override PartName="/ppt/notesSlides/notesSlide24.xml" ContentType="application/vnd.openxmlformats-officedocument.presentationml.notesSlide+xml"/>
  <Override PartName="/ppt/tags/tag204.xml" ContentType="application/vnd.openxmlformats-officedocument.presentationml.tags+xml"/>
  <Override PartName="/ppt/notesSlides/notesSlide2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1"/>
    <p:sldMasterId id="2147483684" r:id="rId2"/>
    <p:sldMasterId id="2147483697" r:id="rId3"/>
    <p:sldMasterId id="2147483721" r:id="rId4"/>
    <p:sldMasterId id="2147483746" r:id="rId5"/>
  </p:sldMasterIdLst>
  <p:notesMasterIdLst>
    <p:notesMasterId r:id="rId32"/>
  </p:notesMasterIdLst>
  <p:handoutMasterIdLst>
    <p:handoutMasterId r:id="rId33"/>
  </p:handoutMasterIdLst>
  <p:sldIdLst>
    <p:sldId id="286" r:id="rId6"/>
    <p:sldId id="350" r:id="rId7"/>
    <p:sldId id="263" r:id="rId8"/>
    <p:sldId id="332" r:id="rId9"/>
    <p:sldId id="333" r:id="rId10"/>
    <p:sldId id="323" r:id="rId11"/>
    <p:sldId id="352" r:id="rId12"/>
    <p:sldId id="339" r:id="rId13"/>
    <p:sldId id="345" r:id="rId14"/>
    <p:sldId id="334" r:id="rId15"/>
    <p:sldId id="346" r:id="rId16"/>
    <p:sldId id="336" r:id="rId17"/>
    <p:sldId id="338" r:id="rId18"/>
    <p:sldId id="321" r:id="rId19"/>
    <p:sldId id="327" r:id="rId20"/>
    <p:sldId id="328" r:id="rId21"/>
    <p:sldId id="329" r:id="rId22"/>
    <p:sldId id="330" r:id="rId23"/>
    <p:sldId id="348" r:id="rId24"/>
    <p:sldId id="340" r:id="rId25"/>
    <p:sldId id="341" r:id="rId26"/>
    <p:sldId id="343" r:id="rId27"/>
    <p:sldId id="342" r:id="rId28"/>
    <p:sldId id="344" r:id="rId29"/>
    <p:sldId id="351" r:id="rId30"/>
    <p:sldId id="331" r:id="rId31"/>
  </p:sldIdLst>
  <p:sldSz cx="12192000" cy="6858000"/>
  <p:notesSz cx="6888163" cy="1001871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A3A709"/>
    <a:srgbClr val="FC371C"/>
    <a:srgbClr val="CF1B03"/>
    <a:srgbClr val="CC3300"/>
    <a:srgbClr val="B18463"/>
    <a:srgbClr val="705038"/>
    <a:srgbClr val="307A2E"/>
    <a:srgbClr val="D1D60C"/>
    <a:srgbClr val="E4E402"/>
    <a:srgbClr val="DA9AA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18603FDC-E32A-4AB5-989C-0864C3EAD2B8}" styleName="Themed Style 2 - Accent 2">
    <a:tblBg>
      <a:fillRef idx="3">
        <a:schemeClr val="accent2"/>
      </a:fillRef>
      <a:effectRef idx="3">
        <a:schemeClr val="accent2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2">
                <a:tint val="50000"/>
              </a:schemeClr>
            </a:lnRef>
          </a:left>
          <a:right>
            <a:lnRef idx="1">
              <a:schemeClr val="accent2">
                <a:tint val="50000"/>
              </a:schemeClr>
            </a:lnRef>
          </a:right>
          <a:top>
            <a:lnRef idx="1">
              <a:schemeClr val="accent2">
                <a:tint val="50000"/>
              </a:schemeClr>
            </a:lnRef>
          </a:top>
          <a:bottom>
            <a:lnRef idx="1">
              <a:schemeClr val="accent2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000" autoAdjust="0"/>
    <p:restoredTop sz="94660"/>
  </p:normalViewPr>
  <p:slideViewPr>
    <p:cSldViewPr snapToGrid="0">
      <p:cViewPr>
        <p:scale>
          <a:sx n="40" d="100"/>
          <a:sy n="40" d="100"/>
        </p:scale>
        <p:origin x="1684" y="628"/>
      </p:cViewPr>
      <p:guideLst/>
    </p:cSldViewPr>
  </p:slideViewPr>
  <p:notesTextViewPr>
    <p:cViewPr>
      <p:scale>
        <a:sx n="3" d="2"/>
        <a:sy n="3" d="2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slide" Target="slides/slide21.xml"/><Relationship Id="rId21" Type="http://schemas.openxmlformats.org/officeDocument/2006/relationships/slide" Target="slides/slide16.xml"/><Relationship Id="rId34" Type="http://schemas.openxmlformats.org/officeDocument/2006/relationships/presProps" Target="presProp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slide" Target="slides/slide20.xml"/><Relationship Id="rId33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slide" Target="slides/slide24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slide" Target="slides/slide19.xml"/><Relationship Id="rId32" Type="http://schemas.openxmlformats.org/officeDocument/2006/relationships/notesMaster" Target="notesMasters/notesMaster1.xml"/><Relationship Id="rId37" Type="http://schemas.openxmlformats.org/officeDocument/2006/relationships/tableStyles" Target="tableStyles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slide" Target="slides/slide23.xml"/><Relationship Id="rId36" Type="http://schemas.openxmlformats.org/officeDocument/2006/relationships/theme" Target="theme/theme1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openxmlformats.org/officeDocument/2006/relationships/slide" Target="slides/slide26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slide" Target="slides/slide22.xml"/><Relationship Id="rId30" Type="http://schemas.openxmlformats.org/officeDocument/2006/relationships/slide" Target="slides/slide25.xml"/><Relationship Id="rId35" Type="http://schemas.openxmlformats.org/officeDocument/2006/relationships/viewProps" Target="viewProps.xml"/><Relationship Id="rId8" Type="http://schemas.openxmlformats.org/officeDocument/2006/relationships/slide" Target="slides/slide3.xml"/><Relationship Id="rId3" Type="http://schemas.openxmlformats.org/officeDocument/2006/relationships/slideMaster" Target="slideMasters/slideMaster3.xml"/></Relationships>
</file>

<file path=ppt/charts/_rels/chart1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5.bin"/><Relationship Id="rId1" Type="http://schemas.openxmlformats.org/officeDocument/2006/relationships/themeOverride" Target="../theme/themeOverride1.xml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6.bin"/><Relationship Id="rId1" Type="http://schemas.openxmlformats.org/officeDocument/2006/relationships/themeOverride" Target="../theme/themeOverride2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oleObject" Target="../embeddings/oleObject7.bin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2118563910864337"/>
          <c:y val="0.18945547073277083"/>
          <c:w val="0.79164847121103155"/>
          <c:h val="0.66931543019828299"/>
        </c:manualLayout>
      </c:layout>
      <c:pie3DChart>
        <c:varyColors val="1"/>
        <c:ser>
          <c:idx val="0"/>
          <c:order val="0"/>
          <c:explosion val="9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9E5D-470C-886A-86F8B7DE8C3A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9E5D-470C-886A-86F8B7DE8C3A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9E5D-470C-886A-86F8B7DE8C3A}"/>
              </c:ext>
            </c:extLst>
          </c:dPt>
          <c:dPt>
            <c:idx val="3"/>
            <c:bubble3D val="0"/>
            <c:extLst>
              <c:ext xmlns:c16="http://schemas.microsoft.com/office/drawing/2014/chart" uri="{C3380CC4-5D6E-409C-BE32-E72D297353CC}">
                <c16:uniqueId val="{00000006-9E5D-470C-886A-86F8B7DE8C3A}"/>
              </c:ext>
            </c:extLst>
          </c:dPt>
          <c:dLbls>
            <c:dLbl>
              <c:idx val="0"/>
              <c:layout>
                <c:manualLayout>
                  <c:x val="0.11211832895888015"/>
                  <c:y val="1.7310423165806801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668407334499855"/>
                      <c:h val="0.2533189182155615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9E5D-470C-886A-86F8B7DE8C3A}"/>
                </c:ext>
              </c:extLst>
            </c:dLbl>
            <c:dLbl>
              <c:idx val="1"/>
              <c:layout>
                <c:manualLayout>
                  <c:x val="5.9807888597256977E-3"/>
                  <c:y val="0.16680066043103281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9E5D-470C-886A-86F8B7DE8C3A}"/>
                </c:ext>
              </c:extLst>
            </c:dLbl>
            <c:dLbl>
              <c:idx val="2"/>
              <c:layout>
                <c:manualLayout>
                  <c:x val="-0.37123806138815979"/>
                  <c:y val="-1.7396644999731127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802666593759113"/>
                      <c:h val="0.2533189182155615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9E5D-470C-886A-86F8B7DE8C3A}"/>
                </c:ext>
              </c:extLst>
            </c:dLbl>
            <c:dLbl>
              <c:idx val="3"/>
              <c:layout>
                <c:manualLayout>
                  <c:x val="-6.4129483814523184E-3"/>
                  <c:y val="-4.6981107211165996E-2"/>
                </c:manualLayout>
              </c:layout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66492599883348"/>
                      <c:h val="0.2533189182155615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6-9E5D-470C-886A-86F8B7DE8C3A}"/>
                </c:ext>
              </c:extLst>
            </c:dLbl>
            <c:spPr>
              <a:noFill/>
              <a:ln>
                <a:solidFill>
                  <a:schemeClr val="tx1"/>
                </a:solidFill>
              </a:ln>
              <a:effectLst/>
            </c:spPr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020-2021'!$P$45:$P$48</c:f>
              <c:strCache>
                <c:ptCount val="4"/>
                <c:pt idx="0">
                  <c:v>Nasionale Regering</c:v>
                </c:pt>
                <c:pt idx="1">
                  <c:v>Provinsiale Regering</c:v>
                </c:pt>
                <c:pt idx="2">
                  <c:v>Eksterne Lenings</c:v>
                </c:pt>
                <c:pt idx="3">
                  <c:v>Kapitaalvervangingsreserwe</c:v>
                </c:pt>
              </c:strCache>
            </c:strRef>
          </c:cat>
          <c:val>
            <c:numRef>
              <c:f>'2020-2021'!$Q$45:$Q$48</c:f>
              <c:numCache>
                <c:formatCode>_(* #,##0_);_(* \(#,##0\);_(* "-"??_);_(@_)</c:formatCode>
                <c:ptCount val="4"/>
                <c:pt idx="0">
                  <c:v>15970566</c:v>
                </c:pt>
                <c:pt idx="1">
                  <c:v>140000</c:v>
                </c:pt>
                <c:pt idx="2">
                  <c:v>40000000</c:v>
                </c:pt>
                <c:pt idx="3">
                  <c:v>1885700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7-9E5D-470C-886A-86F8B7DE8C3A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5B9BD5">
          <a:lumMod val="75000"/>
        </a:srgbClr>
      </a:solidFill>
      <a:round/>
    </a:ln>
    <a:effectLst/>
  </c:spPr>
  <c:txPr>
    <a:bodyPr/>
    <a:lstStyle/>
    <a:p>
      <a:pPr>
        <a:defRPr sz="24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000000"/>
                </a:solidFill>
                <a:latin typeface="Calibri"/>
                <a:ea typeface="Calibri"/>
                <a:cs typeface="Calibri"/>
              </a:defRPr>
            </a:pPr>
            <a:r>
              <a:rPr lang="en-ZA"/>
              <a:t>BEDRYFSUITGAWES PER TIPE</a:t>
            </a:r>
          </a:p>
        </c:rich>
      </c:tx>
      <c:overlay val="0"/>
      <c:spPr>
        <a:noFill/>
        <a:ln>
          <a:solidFill>
            <a:schemeClr val="tx1"/>
          </a:solidFill>
        </a:ln>
        <a:effectLst/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19889868186372545"/>
          <c:y val="0.22989327347753655"/>
          <c:w val="0.64383259294170092"/>
          <c:h val="0.4764792730858276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9A7-48F0-BCCC-3DD6D69B2AE6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9A7-48F0-BCCC-3DD6D69B2AE6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9A7-48F0-BCCC-3DD6D69B2AE6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9A7-48F0-BCCC-3DD6D69B2AE6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B9A7-48F0-BCCC-3DD6D69B2AE6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B9A7-48F0-BCCC-3DD6D69B2AE6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B9A7-48F0-BCCC-3DD6D69B2AE6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B9A7-48F0-BCCC-3DD6D69B2AE6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B9A7-48F0-BCCC-3DD6D69B2AE6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B9A7-48F0-BCCC-3DD6D69B2AE6}"/>
              </c:ext>
            </c:extLst>
          </c:dPt>
          <c:dLbls>
            <c:dLbl>
              <c:idx val="0"/>
              <c:layout>
                <c:manualLayout>
                  <c:x val="5.1225910562730417E-2"/>
                  <c:y val="-8.7711428598194002E-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9A7-48F0-BCCC-3DD6D69B2AE6}"/>
                </c:ext>
              </c:extLst>
            </c:dLbl>
            <c:dLbl>
              <c:idx val="1"/>
              <c:layout>
                <c:manualLayout>
                  <c:x val="9.4592022164372555E-2"/>
                  <c:y val="-0.1142863411423417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9A7-48F0-BCCC-3DD6D69B2AE6}"/>
                </c:ext>
              </c:extLst>
            </c:dLbl>
            <c:dLbl>
              <c:idx val="2"/>
              <c:layout>
                <c:manualLayout>
                  <c:x val="0.13331600254584947"/>
                  <c:y val="7.0373070178454664E-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9A7-48F0-BCCC-3DD6D69B2AE6}"/>
                </c:ext>
              </c:extLst>
            </c:dLbl>
            <c:dLbl>
              <c:idx val="3"/>
              <c:layout>
                <c:manualLayout>
                  <c:x val="-3.0659131620321672E-2"/>
                  <c:y val="0.1075439006223726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9A7-48F0-BCCC-3DD6D69B2AE6}"/>
                </c:ext>
              </c:extLst>
            </c:dLbl>
            <c:dLbl>
              <c:idx val="4"/>
              <c:layout>
                <c:manualLayout>
                  <c:x val="-0.16956994472155393"/>
                  <c:y val="0.13412953465536867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B9A7-48F0-BCCC-3DD6D69B2AE6}"/>
                </c:ext>
              </c:extLst>
            </c:dLbl>
            <c:dLbl>
              <c:idx val="5"/>
              <c:layout>
                <c:manualLayout>
                  <c:x val="-0.10592046168791722"/>
                  <c:y val="0.14955014789819115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9A7-48F0-BCCC-3DD6D69B2AE6}"/>
                </c:ext>
              </c:extLst>
            </c:dLbl>
            <c:dLbl>
              <c:idx val="6"/>
              <c:layout>
                <c:manualLayout>
                  <c:x val="-0.1456755904619699"/>
                  <c:y val="0.28378846748959874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9A7-48F0-BCCC-3DD6D69B2AE6}"/>
                </c:ext>
              </c:extLst>
            </c:dLbl>
            <c:dLbl>
              <c:idx val="7"/>
              <c:layout>
                <c:manualLayout>
                  <c:x val="-0.14109517374774558"/>
                  <c:y val="0.16277756765120513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9A7-48F0-BCCC-3DD6D69B2AE6}"/>
                </c:ext>
              </c:extLst>
            </c:dLbl>
            <c:dLbl>
              <c:idx val="8"/>
              <c:layout>
                <c:manualLayout>
                  <c:x val="-0.10104257166640722"/>
                  <c:y val="4.2657802996379099E-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9A7-48F0-BCCC-3DD6D69B2AE6}"/>
                </c:ext>
              </c:extLst>
            </c:dLbl>
            <c:dLbl>
              <c:idx val="9"/>
              <c:layout>
                <c:manualLayout>
                  <c:x val="-0.23674971882477577"/>
                  <c:y val="-9.8838038258318148E-2"/>
                </c:manualLayout>
              </c:layout>
              <c:numFmt formatCode="General" sourceLinked="0"/>
              <c:spPr>
                <a:noFill/>
                <a:ln>
                  <a:solidFill>
                    <a:schemeClr val="tx1"/>
                  </a:solidFill>
                </a:ln>
                <a:effectLst/>
              </c:spPr>
              <c:txPr>
                <a:bodyPr/>
                <a:lstStyle/>
                <a:p>
                  <a:pPr>
                    <a:defRPr sz="15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9A7-48F0-BCCC-3DD6D69B2AE6}"/>
                </c:ext>
              </c:extLst>
            </c:dLbl>
            <c:numFmt formatCode="General" sourceLinked="0"/>
            <c:spPr>
              <a:noFill/>
              <a:ln>
                <a:solidFill>
                  <a:schemeClr val="tx1"/>
                </a:solidFill>
              </a:ln>
              <a:effectLst/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5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020-2021'!$P$63:$P$72</c:f>
              <c:strCache>
                <c:ptCount val="10"/>
                <c:pt idx="0">
                  <c:v>Werknemer verwante koste</c:v>
                </c:pt>
                <c:pt idx="1">
                  <c:v>Vergoeding van Ampsdraers</c:v>
                </c:pt>
                <c:pt idx="2">
                  <c:v>Voorsiening vir slegte skulde</c:v>
                </c:pt>
                <c:pt idx="3">
                  <c:v>Waardevermindering en waardedaling</c:v>
                </c:pt>
                <c:pt idx="4">
                  <c:v>Finansieringskoste</c:v>
                </c:pt>
                <c:pt idx="5">
                  <c:v>Grootmaataankope</c:v>
                </c:pt>
                <c:pt idx="6">
                  <c:v>Materiale en voorraad</c:v>
                </c:pt>
                <c:pt idx="7">
                  <c:v>Gekontrakteerde Dienste</c:v>
                </c:pt>
                <c:pt idx="8">
                  <c:v>Oordragte en toekennings</c:v>
                </c:pt>
                <c:pt idx="9">
                  <c:v>Ander Uitgawes</c:v>
                </c:pt>
              </c:strCache>
            </c:strRef>
          </c:cat>
          <c:val>
            <c:numRef>
              <c:f>'2020-2021'!$Q$63:$Q$72</c:f>
              <c:numCache>
                <c:formatCode>_(* #,##0_);_(* \(#,##0\);_(* "-"??_);_(@_)</c:formatCode>
                <c:ptCount val="10"/>
                <c:pt idx="0">
                  <c:v>166242551</c:v>
                </c:pt>
                <c:pt idx="1">
                  <c:v>6993000</c:v>
                </c:pt>
                <c:pt idx="2">
                  <c:v>30415141.925545279</c:v>
                </c:pt>
                <c:pt idx="3">
                  <c:v>28668000</c:v>
                </c:pt>
                <c:pt idx="4">
                  <c:v>19514400</c:v>
                </c:pt>
                <c:pt idx="5">
                  <c:v>128498000</c:v>
                </c:pt>
                <c:pt idx="6">
                  <c:v>18631200</c:v>
                </c:pt>
                <c:pt idx="7">
                  <c:v>45347400</c:v>
                </c:pt>
                <c:pt idx="8">
                  <c:v>6822000</c:v>
                </c:pt>
                <c:pt idx="9">
                  <c:v>424845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4-B9A7-48F0-BCCC-3DD6D69B2AE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5B9BD5">
          <a:lumMod val="75000"/>
        </a:srgb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title>
      <c:tx>
        <c:rich>
          <a:bodyPr/>
          <a:lstStyle/>
          <a:p>
            <a:pPr>
              <a:defRPr sz="1800" b="1" i="0" u="none" strike="noStrike" baseline="0">
                <a:solidFill>
                  <a:srgbClr val="333333"/>
                </a:solidFill>
                <a:latin typeface="Arial"/>
                <a:ea typeface="Arial"/>
                <a:cs typeface="Arial"/>
              </a:defRPr>
            </a:pPr>
            <a:r>
              <a:rPr lang="en-ZA"/>
              <a:t>BRONNE VAN INKOMSTE</a:t>
            </a:r>
          </a:p>
        </c:rich>
      </c:tx>
      <c:layout>
        <c:manualLayout>
          <c:xMode val="edge"/>
          <c:yMode val="edge"/>
          <c:x val="0.43310626234155691"/>
          <c:y val="1.5079833770778654E-2"/>
        </c:manualLayout>
      </c:layout>
      <c:overlay val="1"/>
      <c:spPr>
        <a:noFill/>
        <a:ln w="6350">
          <a:solidFill>
            <a:schemeClr val="tx1"/>
          </a:solidFill>
        </a:ln>
      </c:spPr>
    </c:title>
    <c:autoTitleDeleted val="0"/>
    <c:view3D>
      <c:rotX val="30"/>
      <c:rotY val="0"/>
      <c:rAngAx val="0"/>
      <c:perspective val="0"/>
    </c:view3D>
    <c:floor>
      <c:thickness val="0"/>
    </c:floor>
    <c:sideWall>
      <c:thickness val="0"/>
    </c:sideWall>
    <c:backWall>
      <c:thickness val="0"/>
    </c:backWall>
    <c:plotArea>
      <c:layout>
        <c:manualLayout>
          <c:layoutTarget val="inner"/>
          <c:xMode val="edge"/>
          <c:yMode val="edge"/>
          <c:x val="0.26133994722408804"/>
          <c:y val="0.21936549246189954"/>
          <c:w val="0.59939546508200559"/>
          <c:h val="0.58691007312272614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B060-479C-A6B0-971B3FAC5B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3-B060-479C-A6B0-971B3FAC5B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B060-479C-A6B0-971B3FAC5B7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B060-479C-A6B0-971B3FAC5B7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9-B060-479C-A6B0-971B3FAC5B7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B-B060-479C-A6B0-971B3FAC5B7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D-B060-479C-A6B0-971B3FAC5B7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F-B060-479C-A6B0-971B3FAC5B7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1-B060-479C-A6B0-971B3FAC5B70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3-B060-479C-A6B0-971B3FAC5B7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5-B060-479C-A6B0-971B3FAC5B70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7-B060-479C-A6B0-971B3FAC5B70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9-B060-479C-A6B0-971B3FAC5B70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1A-B060-479C-A6B0-971B3FAC5B70}"/>
              </c:ext>
            </c:extLst>
          </c:dPt>
          <c:dLbls>
            <c:dLbl>
              <c:idx val="0"/>
              <c:layout>
                <c:manualLayout>
                  <c:x val="7.6944220721822373E-2"/>
                  <c:y val="1.6945574004383915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B060-479C-A6B0-971B3FAC5B70}"/>
                </c:ext>
              </c:extLst>
            </c:dLbl>
            <c:dLbl>
              <c:idx val="1"/>
              <c:layout>
                <c:manualLayout>
                  <c:x val="-6.7579221366516349E-3"/>
                  <c:y val="5.7189467287902709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B060-479C-A6B0-971B3FAC5B70}"/>
                </c:ext>
              </c:extLst>
            </c:dLbl>
            <c:dLbl>
              <c:idx val="2"/>
              <c:layout>
                <c:manualLayout>
                  <c:x val="0.20261610780211378"/>
                  <c:y val="1.4615392669202198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B060-479C-A6B0-971B3FAC5B70}"/>
                </c:ext>
              </c:extLst>
            </c:dLbl>
            <c:dLbl>
              <c:idx val="3"/>
              <c:layout>
                <c:manualLayout>
                  <c:x val="0.19693841797244446"/>
                  <c:y val="0.16248048280713889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7-B060-479C-A6B0-971B3FAC5B70}"/>
                </c:ext>
              </c:extLst>
            </c:dLbl>
            <c:dLbl>
              <c:idx val="4"/>
              <c:layout>
                <c:manualLayout>
                  <c:x val="5.034087644919974E-2"/>
                  <c:y val="0.2198706964770110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355836343451855"/>
                      <c:h val="0.115308635035419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9-B060-479C-A6B0-971B3FAC5B70}"/>
                </c:ext>
              </c:extLst>
            </c:dLbl>
            <c:dLbl>
              <c:idx val="5"/>
              <c:layout>
                <c:manualLayout>
                  <c:x val="-8.4444740370074906E-2"/>
                  <c:y val="0.15226557211722974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B060-479C-A6B0-971B3FAC5B70}"/>
                </c:ext>
              </c:extLst>
            </c:dLbl>
            <c:dLbl>
              <c:idx val="6"/>
              <c:layout>
                <c:manualLayout>
                  <c:x val="-5.2090671475744608E-2"/>
                  <c:y val="6.3931450628757241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D-B060-479C-A6B0-971B3FAC5B70}"/>
                </c:ext>
              </c:extLst>
            </c:dLbl>
            <c:dLbl>
              <c:idx val="7"/>
              <c:layout>
                <c:manualLayout>
                  <c:x val="-5.0052630545484554E-2"/>
                  <c:y val="-3.5475050597216187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F-B060-479C-A6B0-971B3FAC5B70}"/>
                </c:ext>
              </c:extLst>
            </c:dLbl>
            <c:dLbl>
              <c:idx val="8"/>
              <c:layout>
                <c:manualLayout>
                  <c:x val="-4.3679712408431569E-2"/>
                  <c:y val="-0.11223607778641403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B060-479C-A6B0-971B3FAC5B70}"/>
                </c:ext>
              </c:extLst>
            </c:dLbl>
            <c:dLbl>
              <c:idx val="9"/>
              <c:layout>
                <c:manualLayout>
                  <c:x val="-5.5852911580021702E-2"/>
                  <c:y val="-0.10811260180460275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B060-479C-A6B0-971B3FAC5B70}"/>
                </c:ext>
              </c:extLst>
            </c:dLbl>
            <c:dLbl>
              <c:idx val="10"/>
              <c:layout>
                <c:manualLayout>
                  <c:x val="-5.1089084430034064E-2"/>
                  <c:y val="-0.2071186809803281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00891447507417"/>
                      <c:h val="7.8997144842765585E-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15-B060-479C-A6B0-971B3FAC5B70}"/>
                </c:ext>
              </c:extLst>
            </c:dLbl>
            <c:dLbl>
              <c:idx val="11"/>
              <c:layout>
                <c:manualLayout>
                  <c:x val="-6.6985071263302248E-2"/>
                  <c:y val="-0.19041988177179689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7-B060-479C-A6B0-971B3FAC5B70}"/>
                </c:ext>
              </c:extLst>
            </c:dLbl>
            <c:dLbl>
              <c:idx val="12"/>
              <c:layout>
                <c:manualLayout>
                  <c:x val="4.7566915116151562E-2"/>
                  <c:y val="-6.9443761299084833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9-B060-479C-A6B0-971B3FAC5B70}"/>
                </c:ext>
              </c:extLst>
            </c:dLbl>
            <c:dLbl>
              <c:idx val="13"/>
              <c:layout>
                <c:manualLayout>
                  <c:x val="0.20721087050009171"/>
                  <c:y val="-2.6845491380687522E-2"/>
                </c:manualLayout>
              </c:layout>
              <c:numFmt formatCode="0.00%" sourceLinked="0"/>
              <c:spPr>
                <a:noFill/>
                <a:ln w="3175">
                  <a:solidFill>
                    <a:schemeClr val="tx1"/>
                  </a:solidFill>
                </a:ln>
              </c:spPr>
              <c:txPr>
                <a:bodyPr/>
                <a:lstStyle/>
                <a:p>
                  <a:pPr>
                    <a:defRPr sz="1400" b="0" i="0" u="none" strike="noStrike" baseline="0">
                      <a:solidFill>
                        <a:srgbClr val="333333"/>
                      </a:solidFill>
                      <a:latin typeface="Calibri"/>
                      <a:ea typeface="Calibri"/>
                      <a:cs typeface="Calibri"/>
                    </a:defRPr>
                  </a:pPr>
                  <a:endParaRPr lang="en-US"/>
                </a:p>
              </c:txPr>
              <c:dLblPos val="bestFit"/>
              <c:showLegendKey val="0"/>
              <c:showVal val="1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A-B060-479C-A6B0-971B3FAC5B70}"/>
                </c:ext>
              </c:extLst>
            </c:dLbl>
            <c:numFmt formatCode="0.00%" sourceLinked="0"/>
            <c:spPr>
              <a:noFill/>
              <a:ln w="3175">
                <a:solidFill>
                  <a:schemeClr val="tx1"/>
                </a:solidFill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14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020-2021'!$P$128:$P$141</c:f>
              <c:strCache>
                <c:ptCount val="14"/>
                <c:pt idx="0">
                  <c:v>Eiendomsbelasting</c:v>
                </c:pt>
                <c:pt idx="1">
                  <c:v>Diensteheffings - Elektrisiteit</c:v>
                </c:pt>
                <c:pt idx="2">
                  <c:v>Diensteheffings - Water</c:v>
                </c:pt>
                <c:pt idx="3">
                  <c:v>Diensteheffings - Riolering</c:v>
                </c:pt>
                <c:pt idx="4">
                  <c:v>Diensteheffings - Vullisverwydering</c:v>
                </c:pt>
                <c:pt idx="5">
                  <c:v>Huur van fasiliteite en toerusting</c:v>
                </c:pt>
                <c:pt idx="6">
                  <c:v>Rente - Eksterne beleggings</c:v>
                </c:pt>
                <c:pt idx="7">
                  <c:v>Rente - Uitstaande Debiteure</c:v>
                </c:pt>
                <c:pt idx="8">
                  <c:v>Boetes, Toeslae en Prysgawe</c:v>
                </c:pt>
                <c:pt idx="9">
                  <c:v>Lisensies en permitte</c:v>
                </c:pt>
                <c:pt idx="10">
                  <c:v>Agentskapsdienste</c:v>
                </c:pt>
                <c:pt idx="11">
                  <c:v>Oordragte en Subsidies - Operasioneel</c:v>
                </c:pt>
                <c:pt idx="12">
                  <c:v>Ander Inkomste</c:v>
                </c:pt>
                <c:pt idx="13">
                  <c:v>Oordragte en Subsidies - Kapitaal</c:v>
                </c:pt>
              </c:strCache>
            </c:strRef>
          </c:cat>
          <c:val>
            <c:numRef>
              <c:f>'2020-2021'!$Q$128:$Q$141</c:f>
              <c:numCache>
                <c:formatCode>_(* #,##0_);_(* \(#,##0\);_(* "-"??_);_(@_)</c:formatCode>
                <c:ptCount val="14"/>
                <c:pt idx="0">
                  <c:v>93674997.15977852</c:v>
                </c:pt>
                <c:pt idx="1">
                  <c:v>161051502.28839996</c:v>
                </c:pt>
                <c:pt idx="2">
                  <c:v>36807165.795434989</c:v>
                </c:pt>
                <c:pt idx="3">
                  <c:v>17702000</c:v>
                </c:pt>
                <c:pt idx="4">
                  <c:v>32447000</c:v>
                </c:pt>
                <c:pt idx="5">
                  <c:v>1674000</c:v>
                </c:pt>
                <c:pt idx="6">
                  <c:v>7981000</c:v>
                </c:pt>
                <c:pt idx="7">
                  <c:v>5000000</c:v>
                </c:pt>
                <c:pt idx="8">
                  <c:v>21286000</c:v>
                </c:pt>
                <c:pt idx="9">
                  <c:v>77000</c:v>
                </c:pt>
                <c:pt idx="10">
                  <c:v>5788000</c:v>
                </c:pt>
                <c:pt idx="11">
                  <c:v>81237434</c:v>
                </c:pt>
                <c:pt idx="12">
                  <c:v>14025000</c:v>
                </c:pt>
                <c:pt idx="13">
                  <c:v>1611056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B-B060-479C-A6B0-971B3FAC5B70}"/>
            </c:ext>
          </c:extLst>
        </c:ser>
        <c:ser>
          <c:idx val="1"/>
          <c:order val="1"/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D-B060-479C-A6B0-971B3FAC5B7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1F-B060-479C-A6B0-971B3FAC5B7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1-B060-479C-A6B0-971B3FAC5B7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3-B060-479C-A6B0-971B3FAC5B7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5-B060-479C-A6B0-971B3FAC5B7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7-B060-479C-A6B0-971B3FAC5B7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9-B060-479C-A6B0-971B3FAC5B7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B-B060-479C-A6B0-971B3FAC5B7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D-B060-479C-A6B0-971B3FAC5B70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2F-B060-479C-A6B0-971B3FAC5B70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31-B060-479C-A6B0-971B3FAC5B70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33-B060-479C-A6B0-971B3FAC5B70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35-B060-479C-A6B0-971B3FAC5B70}"/>
              </c:ext>
            </c:extLst>
          </c:dPt>
          <c:dPt>
            <c:idx val="13"/>
            <c:bubble3D val="0"/>
            <c:extLst>
              <c:ext xmlns:c16="http://schemas.microsoft.com/office/drawing/2014/chart" uri="{C3380CC4-5D6E-409C-BE32-E72D297353CC}">
                <c16:uniqueId val="{00000036-B060-479C-A6B0-971B3FAC5B70}"/>
              </c:ext>
            </c:extLst>
          </c:dPt>
          <c:dLbls>
            <c:spPr>
              <a:noFill/>
              <a:ln w="25400">
                <a:noFill/>
              </a:ln>
            </c:spPr>
            <c:txPr>
              <a:bodyPr wrap="square" lIns="38100" tIns="19050" rIns="38100" bIns="19050" anchor="ctr">
                <a:spAutoFit/>
              </a:bodyPr>
              <a:lstStyle/>
              <a:p>
                <a:pPr>
                  <a:defRPr sz="900" b="0" i="0" u="none" strike="noStrike" baseline="0">
                    <a:solidFill>
                      <a:srgbClr val="333333"/>
                    </a:solidFill>
                    <a:latin typeface="Calibri"/>
                    <a:ea typeface="Calibri"/>
                    <a:cs typeface="Calibri"/>
                  </a:defRPr>
                </a:pPr>
                <a:endParaRPr lang="en-US"/>
              </a:p>
            </c:txPr>
            <c:dLblPos val="bestFit"/>
            <c:showLegendKey val="0"/>
            <c:showVal val="1"/>
            <c:showCatName val="0"/>
            <c:showSerName val="0"/>
            <c:showPercent val="0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2020-2021'!$P$128:$P$141</c:f>
              <c:strCache>
                <c:ptCount val="14"/>
                <c:pt idx="0">
                  <c:v>Eiendomsbelasting</c:v>
                </c:pt>
                <c:pt idx="1">
                  <c:v>Diensteheffings - Elektrisiteit</c:v>
                </c:pt>
                <c:pt idx="2">
                  <c:v>Diensteheffings - Water</c:v>
                </c:pt>
                <c:pt idx="3">
                  <c:v>Diensteheffings - Riolering</c:v>
                </c:pt>
                <c:pt idx="4">
                  <c:v>Diensteheffings - Vullisverwydering</c:v>
                </c:pt>
                <c:pt idx="5">
                  <c:v>Huur van fasiliteite en toerusting</c:v>
                </c:pt>
                <c:pt idx="6">
                  <c:v>Rente - Eksterne beleggings</c:v>
                </c:pt>
                <c:pt idx="7">
                  <c:v>Rente - Uitstaande Debiteure</c:v>
                </c:pt>
                <c:pt idx="8">
                  <c:v>Boetes, Toeslae en Prysgawe</c:v>
                </c:pt>
                <c:pt idx="9">
                  <c:v>Lisensies en permitte</c:v>
                </c:pt>
                <c:pt idx="10">
                  <c:v>Agentskapsdienste</c:v>
                </c:pt>
                <c:pt idx="11">
                  <c:v>Oordragte en Subsidies - Operasioneel</c:v>
                </c:pt>
                <c:pt idx="12">
                  <c:v>Ander Inkomste</c:v>
                </c:pt>
                <c:pt idx="13">
                  <c:v>Oordragte en Subsidies - Kapitaal</c:v>
                </c:pt>
              </c:strCache>
            </c:strRef>
          </c:cat>
          <c:val>
            <c:numRef>
              <c:f>'2020-2021'!$R$136:$R$150</c:f>
              <c:numCache>
                <c:formatCode>General</c:formatCode>
                <c:ptCount val="14"/>
              </c:numCache>
            </c:numRef>
          </c:val>
          <c:extLst>
            <c:ext xmlns:c16="http://schemas.microsoft.com/office/drawing/2014/chart" uri="{C3380CC4-5D6E-409C-BE32-E72D297353CC}">
              <c16:uniqueId val="{00000037-B060-479C-A6B0-971B3FAC5B70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 w="25400">
          <a:noFill/>
        </a:ln>
      </c:spPr>
    </c:plotArea>
    <c:plotVisOnly val="1"/>
    <c:dispBlanksAs val="gap"/>
    <c:showDLblsOverMax val="0"/>
  </c:chart>
  <c:spPr>
    <a:solidFill>
      <a:schemeClr val="bg1"/>
    </a:solidFill>
    <a:ln w="9525" cap="flat" cmpd="sng" algn="ctr">
      <a:solidFill>
        <a:srgbClr val="5B9BD5">
          <a:lumMod val="75000"/>
        </a:srgbClr>
      </a:solidFill>
      <a:round/>
    </a:ln>
    <a:effectLst/>
  </c:spPr>
  <c:txPr>
    <a:bodyPr/>
    <a:lstStyle/>
    <a:p>
      <a:pPr>
        <a:defRPr sz="1000" b="0" i="0" u="none" strike="noStrike" baseline="0">
          <a:solidFill>
            <a:srgbClr val="000000"/>
          </a:solidFill>
          <a:latin typeface="Calibri"/>
          <a:ea typeface="Calibri"/>
          <a:cs typeface="Calibri"/>
        </a:defRPr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2676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01700" y="0"/>
            <a:ext cx="2984870" cy="502676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r">
              <a:defRPr sz="1200"/>
            </a:lvl1pPr>
          </a:lstStyle>
          <a:p>
            <a:fld id="{CFC32209-6951-485A-BF37-6A3073802242}" type="datetimeFigureOut">
              <a:rPr lang="en-ZA" smtClean="0"/>
              <a:t>2022/04/12</a:t>
            </a:fld>
            <a:endParaRPr lang="en-ZA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9516039"/>
            <a:ext cx="2984870" cy="502675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01700" y="9516039"/>
            <a:ext cx="2984870" cy="502675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r">
              <a:defRPr sz="1200"/>
            </a:lvl1pPr>
          </a:lstStyle>
          <a:p>
            <a:fld id="{701335B2-CAFB-4179-B0EF-4A6132FE20D4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96513413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2984870" cy="502676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01700" y="0"/>
            <a:ext cx="2984870" cy="502676"/>
          </a:xfrm>
          <a:prstGeom prst="rect">
            <a:avLst/>
          </a:prstGeom>
        </p:spPr>
        <p:txBody>
          <a:bodyPr vert="horz" lIns="92428" tIns="46214" rIns="92428" bIns="46214" rtlCol="0"/>
          <a:lstStyle>
            <a:lvl1pPr algn="r">
              <a:defRPr sz="1200"/>
            </a:lvl1pPr>
          </a:lstStyle>
          <a:p>
            <a:fld id="{CC9BCE41-EE9E-4EB9-B6C4-7676DD7AD74E}" type="datetimeFigureOut">
              <a:rPr lang="en-ZA" smtClean="0"/>
              <a:t>2022/04/12</a:t>
            </a:fld>
            <a:endParaRPr lang="en-ZA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39738" y="1252538"/>
            <a:ext cx="6008687" cy="33797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28" tIns="46214" rIns="92428" bIns="46214" rtlCol="0" anchor="ctr"/>
          <a:lstStyle/>
          <a:p>
            <a:endParaRPr lang="en-ZA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8817" y="4821506"/>
            <a:ext cx="5510530" cy="3944868"/>
          </a:xfrm>
          <a:prstGeom prst="rect">
            <a:avLst/>
          </a:prstGeom>
        </p:spPr>
        <p:txBody>
          <a:bodyPr vert="horz" lIns="92428" tIns="46214" rIns="92428" bIns="46214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9516039"/>
            <a:ext cx="2984870" cy="502675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l">
              <a:defRPr sz="1200"/>
            </a:lvl1pPr>
          </a:lstStyle>
          <a:p>
            <a:endParaRPr lang="en-ZA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01700" y="9516039"/>
            <a:ext cx="2984870" cy="502675"/>
          </a:xfrm>
          <a:prstGeom prst="rect">
            <a:avLst/>
          </a:prstGeom>
        </p:spPr>
        <p:txBody>
          <a:bodyPr vert="horz" lIns="92428" tIns="46214" rIns="92428" bIns="46214" rtlCol="0" anchor="b"/>
          <a:lstStyle>
            <a:lvl1pPr algn="r">
              <a:defRPr sz="1200"/>
            </a:lvl1pPr>
          </a:lstStyle>
          <a:p>
            <a:fld id="{0011224A-9575-4302-BC3D-13FB6A5386DE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31505211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F5C8D481-5EB3-4BB0-842D-EFDD63368360}" type="slidenum">
              <a:rPr lang="en-ZA" smtClean="0">
                <a:solidFill>
                  <a:prstClr val="black"/>
                </a:solidFill>
              </a:rPr>
              <a:pPr/>
              <a:t>1</a:t>
            </a:fld>
            <a:endParaRPr lang="en-ZA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012739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7313325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8615558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054605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3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33508049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/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/>
              <a:t>14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877411677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15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74606587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16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3896558017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17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424762072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18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89099952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4313" y="838200"/>
            <a:ext cx="7448551" cy="4189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6251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479219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3080524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1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710521248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2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63185107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3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69991301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4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064616455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3279252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-214313" y="838200"/>
            <a:ext cx="7448551" cy="4189413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3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17743256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/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/>
              <a:t>4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163949440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764516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defTabSz="924276">
              <a:defRPr/>
            </a:pPr>
            <a:fld id="{F5C8D481-5EB3-4BB0-842D-EFDD63368360}" type="slidenum">
              <a:rPr lang="en-ZA">
                <a:solidFill>
                  <a:prstClr val="black"/>
                </a:solidFill>
                <a:latin typeface="Calibri" panose="020F0502020204030204"/>
              </a:rPr>
              <a:pPr defTabSz="924276">
                <a:defRPr/>
              </a:pPr>
              <a:t>6</a:t>
            </a:fld>
            <a:endParaRPr lang="en-ZA" dirty="0">
              <a:solidFill>
                <a:prstClr val="black"/>
              </a:solidFill>
              <a:latin typeface="Calibri" panose="020F0502020204030204"/>
            </a:endParaRPr>
          </a:p>
        </p:txBody>
      </p:sp>
    </p:spTree>
    <p:extLst>
      <p:ext uri="{BB962C8B-B14F-4D97-AF65-F5344CB8AC3E}">
        <p14:creationId xmlns:p14="http://schemas.microsoft.com/office/powerpoint/2010/main" val="289844094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9919061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9830346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2522538" y="554038"/>
            <a:ext cx="4941887" cy="2779712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ZA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2427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F5C8D481-5EB3-4BB0-842D-EFDD63368360}" type="slidenum">
              <a:rPr kumimoji="0" lang="en-ZA" sz="12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2427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ZA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1595088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/Relationships>
</file>

<file path=ppt/slideLayouts/_rels/slideLayout10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2.xml"/><Relationship Id="rId1" Type="http://schemas.openxmlformats.org/officeDocument/2006/relationships/tags" Target="../tags/tag171.xml"/></Relationships>
</file>

<file path=ppt/slideLayouts/_rels/slideLayout10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4.xml"/><Relationship Id="rId1" Type="http://schemas.openxmlformats.org/officeDocument/2006/relationships/tags" Target="../tags/tag173.xml"/></Relationships>
</file>

<file path=ppt/slideLayouts/_rels/slideLayout10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6.xml"/><Relationship Id="rId1" Type="http://schemas.openxmlformats.org/officeDocument/2006/relationships/tags" Target="../tags/tag175.xml"/></Relationships>
</file>

<file path=ppt/slideLayouts/_rels/slideLayout10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8.xml"/><Relationship Id="rId1" Type="http://schemas.openxmlformats.org/officeDocument/2006/relationships/tags" Target="../tags/tag177.xml"/></Relationships>
</file>

<file path=ppt/slideLayouts/_rels/slideLayout10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5.xml"/><Relationship Id="rId1" Type="http://schemas.openxmlformats.org/officeDocument/2006/relationships/tags" Target="../tags/tag179.xml"/><Relationship Id="rId4" Type="http://schemas.openxmlformats.org/officeDocument/2006/relationships/image" Target="../media/image5.png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5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1.xml"/><Relationship Id="rId1" Type="http://schemas.openxmlformats.org/officeDocument/2006/relationships/tags" Target="../tags/tag30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3.xml"/><Relationship Id="rId1" Type="http://schemas.openxmlformats.org/officeDocument/2006/relationships/tags" Target="../tags/tag32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5.xml"/><Relationship Id="rId1" Type="http://schemas.openxmlformats.org/officeDocument/2006/relationships/tags" Target="../tags/tag34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7.xml"/><Relationship Id="rId1" Type="http://schemas.openxmlformats.org/officeDocument/2006/relationships/tags" Target="../tags/tag36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9.xml"/><Relationship Id="rId1" Type="http://schemas.openxmlformats.org/officeDocument/2006/relationships/tags" Target="../tags/tag38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1.xml"/><Relationship Id="rId1" Type="http://schemas.openxmlformats.org/officeDocument/2006/relationships/tags" Target="../tags/tag40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3.xml"/><Relationship Id="rId1" Type="http://schemas.openxmlformats.org/officeDocument/2006/relationships/tags" Target="../tags/tag42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4.xml"/><Relationship Id="rId4" Type="http://schemas.openxmlformats.org/officeDocument/2006/relationships/image" Target="../media/image5.png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9.jpeg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tags" Target="../tags/tag8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1.xml"/><Relationship Id="rId1" Type="http://schemas.openxmlformats.org/officeDocument/2006/relationships/tags" Target="../tags/tag50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3.xml"/><Relationship Id="rId1" Type="http://schemas.openxmlformats.org/officeDocument/2006/relationships/tags" Target="../tags/tag52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5.xml"/><Relationship Id="rId1" Type="http://schemas.openxmlformats.org/officeDocument/2006/relationships/tags" Target="../tags/tag54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7.xml"/><Relationship Id="rId1" Type="http://schemas.openxmlformats.org/officeDocument/2006/relationships/tags" Target="../tags/tag56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9.xml"/><Relationship Id="rId1" Type="http://schemas.openxmlformats.org/officeDocument/2006/relationships/tags" Target="../tags/tag58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1.xml"/><Relationship Id="rId1" Type="http://schemas.openxmlformats.org/officeDocument/2006/relationships/tags" Target="../tags/tag60.xml"/></Relationships>
</file>

<file path=ppt/slideLayouts/_rels/slideLayout4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3.xml"/><Relationship Id="rId1" Type="http://schemas.openxmlformats.org/officeDocument/2006/relationships/tags" Target="../tags/tag62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5.xml"/><Relationship Id="rId1" Type="http://schemas.openxmlformats.org/officeDocument/2006/relationships/tags" Target="../tags/tag64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7.xml"/><Relationship Id="rId1" Type="http://schemas.openxmlformats.org/officeDocument/2006/relationships/tags" Target="../tags/tag66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69.xml"/><Relationship Id="rId1" Type="http://schemas.openxmlformats.org/officeDocument/2006/relationships/tags" Target="../tags/tag68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1.xml"/><Relationship Id="rId1" Type="http://schemas.openxmlformats.org/officeDocument/2006/relationships/tags" Target="../tags/tag70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3.xml"/><Relationship Id="rId1" Type="http://schemas.openxmlformats.org/officeDocument/2006/relationships/tags" Target="../tags/tag72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/Relationships>
</file>

<file path=ppt/slideLayouts/_rels/slideLayout5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5.xml"/><Relationship Id="rId1" Type="http://schemas.openxmlformats.org/officeDocument/2006/relationships/tags" Target="../tags/tag74.xml"/></Relationships>
</file>

<file path=ppt/slideLayouts/_rels/slideLayout5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7.xml"/><Relationship Id="rId1" Type="http://schemas.openxmlformats.org/officeDocument/2006/relationships/tags" Target="../tags/tag76.xml"/></Relationships>
</file>

<file path=ppt/slideLayouts/_rels/slideLayout5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9.xml"/><Relationship Id="rId1" Type="http://schemas.openxmlformats.org/officeDocument/2006/relationships/tags" Target="../tags/tag78.xml"/></Relationships>
</file>

<file path=ppt/slideLayouts/_rels/slideLayout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1.xml"/><Relationship Id="rId1" Type="http://schemas.openxmlformats.org/officeDocument/2006/relationships/tags" Target="../tags/tag80.xml"/></Relationships>
</file>

<file path=ppt/slideLayouts/_rels/slideLayout5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3.xml"/><Relationship Id="rId1" Type="http://schemas.openxmlformats.org/officeDocument/2006/relationships/tags" Target="../tags/tag82.xml"/></Relationships>
</file>

<file path=ppt/slideLayouts/_rels/slideLayout5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5.xml"/><Relationship Id="rId1" Type="http://schemas.openxmlformats.org/officeDocument/2006/relationships/tags" Target="../tags/tag84.xml"/></Relationships>
</file>

<file path=ppt/slideLayouts/_rels/slideLayout5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7.xml"/><Relationship Id="rId1" Type="http://schemas.openxmlformats.org/officeDocument/2006/relationships/tags" Target="../tags/tag86.xml"/></Relationships>
</file>

<file path=ppt/slideLayouts/_rels/slideLayout5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88.xml"/><Relationship Id="rId4" Type="http://schemas.openxmlformats.org/officeDocument/2006/relationships/image" Target="../media/image5.png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4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6.xml"/><Relationship Id="rId1" Type="http://schemas.openxmlformats.org/officeDocument/2006/relationships/tags" Target="../tags/tag95.xml"/></Relationships>
</file>

<file path=ppt/slideLayouts/_rels/slideLayout6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98.xml"/><Relationship Id="rId1" Type="http://schemas.openxmlformats.org/officeDocument/2006/relationships/tags" Target="../tags/tag97.xml"/></Relationships>
</file>

<file path=ppt/slideLayouts/_rels/slideLayout6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0.xml"/><Relationship Id="rId1" Type="http://schemas.openxmlformats.org/officeDocument/2006/relationships/tags" Target="../tags/tag99.xml"/></Relationships>
</file>

<file path=ppt/slideLayouts/_rels/slideLayout6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2.xml"/><Relationship Id="rId1" Type="http://schemas.openxmlformats.org/officeDocument/2006/relationships/tags" Target="../tags/tag101.xml"/></Relationships>
</file>

<file path=ppt/slideLayouts/_rels/slideLayout6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4.xml"/><Relationship Id="rId1" Type="http://schemas.openxmlformats.org/officeDocument/2006/relationships/tags" Target="../tags/tag103.xml"/></Relationships>
</file>

<file path=ppt/slideLayouts/_rels/slideLayout6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6.xml"/><Relationship Id="rId1" Type="http://schemas.openxmlformats.org/officeDocument/2006/relationships/tags" Target="../tags/tag105.xml"/></Relationships>
</file>

<file path=ppt/slideLayouts/_rels/slideLayout6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08.xml"/><Relationship Id="rId1" Type="http://schemas.openxmlformats.org/officeDocument/2006/relationships/tags" Target="../tags/tag107.xml"/></Relationships>
</file>

<file path=ppt/slideLayouts/_rels/slideLayout6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0.xml"/><Relationship Id="rId1" Type="http://schemas.openxmlformats.org/officeDocument/2006/relationships/tags" Target="../tags/tag109.xml"/></Relationships>
</file>

<file path=ppt/slideLayouts/_rels/slideLayout6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2.xml"/><Relationship Id="rId1" Type="http://schemas.openxmlformats.org/officeDocument/2006/relationships/tags" Target="../tags/tag111.xml"/></Relationships>
</file>

<file path=ppt/slideLayouts/_rels/slideLayout6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4.xml"/><Relationship Id="rId1" Type="http://schemas.openxmlformats.org/officeDocument/2006/relationships/tags" Target="../tags/tag113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/Relationships>
</file>

<file path=ppt/slideLayouts/_rels/slideLayout7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6.xml"/><Relationship Id="rId1" Type="http://schemas.openxmlformats.org/officeDocument/2006/relationships/tags" Target="../tags/tag115.xml"/></Relationships>
</file>

<file path=ppt/slideLayouts/_rels/slideLayout7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18.xml"/><Relationship Id="rId1" Type="http://schemas.openxmlformats.org/officeDocument/2006/relationships/tags" Target="../tags/tag117.xml"/></Relationships>
</file>

<file path=ppt/slideLayouts/_rels/slideLayout7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4.xml"/></Relationships>
</file>

<file path=ppt/slideLayouts/_rels/slideLayout7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0.xml"/><Relationship Id="rId1" Type="http://schemas.openxmlformats.org/officeDocument/2006/relationships/tags" Target="../tags/tag119.xml"/></Relationships>
</file>

<file path=ppt/slideLayouts/_rels/slideLayout7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2.xml"/><Relationship Id="rId1" Type="http://schemas.openxmlformats.org/officeDocument/2006/relationships/tags" Target="../tags/tag121.xml"/></Relationships>
</file>

<file path=ppt/slideLayouts/_rels/slideLayout7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4.xml"/><Relationship Id="rId1" Type="http://schemas.openxmlformats.org/officeDocument/2006/relationships/tags" Target="../tags/tag123.xml"/></Relationships>
</file>

<file path=ppt/slideLayouts/_rels/slideLayout7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6.xml"/><Relationship Id="rId1" Type="http://schemas.openxmlformats.org/officeDocument/2006/relationships/tags" Target="../tags/tag125.xml"/></Relationships>
</file>

<file path=ppt/slideLayouts/_rels/slideLayout7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28.xml"/><Relationship Id="rId1" Type="http://schemas.openxmlformats.org/officeDocument/2006/relationships/tags" Target="../tags/tag127.xml"/></Relationships>
</file>

<file path=ppt/slideLayouts/_rels/slideLayout7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0.xml"/><Relationship Id="rId1" Type="http://schemas.openxmlformats.org/officeDocument/2006/relationships/tags" Target="../tags/tag129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2.xml"/><Relationship Id="rId1" Type="http://schemas.openxmlformats.org/officeDocument/2006/relationships/tags" Target="../tags/tag13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/Relationships>
</file>

<file path=ppt/slideLayouts/_rels/slideLayout8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134.xml"/><Relationship Id="rId1" Type="http://schemas.openxmlformats.org/officeDocument/2006/relationships/tags" Target="../tags/tag133.xml"/></Relationships>
</file>

<file path=ppt/slideLayouts/_rels/slideLayout8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jpeg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135.xml"/><Relationship Id="rId4" Type="http://schemas.openxmlformats.org/officeDocument/2006/relationships/image" Target="../media/image15.png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2.xml"/><Relationship Id="rId1" Type="http://schemas.openxmlformats.org/officeDocument/2006/relationships/tags" Target="../tags/tag141.xml"/></Relationships>
</file>

<file path=ppt/slideLayouts/_rels/slideLayout8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4.xml"/><Relationship Id="rId1" Type="http://schemas.openxmlformats.org/officeDocument/2006/relationships/tags" Target="../tags/tag14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6.xml"/><Relationship Id="rId1" Type="http://schemas.openxmlformats.org/officeDocument/2006/relationships/tags" Target="../tags/tag145.xml"/></Relationships>
</file>

<file path=ppt/slideLayouts/_rels/slideLayout8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48.xml"/><Relationship Id="rId1" Type="http://schemas.openxmlformats.org/officeDocument/2006/relationships/tags" Target="../tags/tag147.xml"/></Relationships>
</file>

<file path=ppt/slideLayouts/_rels/slideLayout8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0.xml"/><Relationship Id="rId1" Type="http://schemas.openxmlformats.org/officeDocument/2006/relationships/tags" Target="../tags/tag149.xml"/></Relationships>
</file>

<file path=ppt/slideLayouts/_rels/slideLayout8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2.xml"/><Relationship Id="rId1" Type="http://schemas.openxmlformats.org/officeDocument/2006/relationships/tags" Target="../tags/tag15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/Relationships>
</file>

<file path=ppt/slideLayouts/_rels/slideLayout9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4.xml"/><Relationship Id="rId1" Type="http://schemas.openxmlformats.org/officeDocument/2006/relationships/tags" Target="../tags/tag153.xml"/></Relationships>
</file>

<file path=ppt/slideLayouts/_rels/slideLayout9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6.xml"/><Relationship Id="rId1" Type="http://schemas.openxmlformats.org/officeDocument/2006/relationships/tags" Target="../tags/tag155.xml"/></Relationships>
</file>

<file path=ppt/slideLayouts/_rels/slideLayout9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58.xml"/><Relationship Id="rId1" Type="http://schemas.openxmlformats.org/officeDocument/2006/relationships/tags" Target="../tags/tag157.xml"/></Relationships>
</file>

<file path=ppt/slideLayouts/_rels/slideLayout9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0.xml"/><Relationship Id="rId1" Type="http://schemas.openxmlformats.org/officeDocument/2006/relationships/tags" Target="../tags/tag159.xml"/></Relationships>
</file>

<file path=ppt/slideLayouts/_rels/slideLayout9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2.xml"/><Relationship Id="rId1" Type="http://schemas.openxmlformats.org/officeDocument/2006/relationships/tags" Target="../tags/tag161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9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4.xml"/><Relationship Id="rId1" Type="http://schemas.openxmlformats.org/officeDocument/2006/relationships/tags" Target="../tags/tag163.xml"/></Relationships>
</file>

<file path=ppt/slideLayouts/_rels/slideLayout9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6.xml"/><Relationship Id="rId1" Type="http://schemas.openxmlformats.org/officeDocument/2006/relationships/tags" Target="../tags/tag165.xml"/></Relationships>
</file>

<file path=ppt/slideLayouts/_rels/slideLayout9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68.xml"/><Relationship Id="rId1" Type="http://schemas.openxmlformats.org/officeDocument/2006/relationships/tags" Target="../tags/tag167.xml"/></Relationships>
</file>

<file path=ppt/slideLayouts/_rels/slideLayout9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5.xml"/><Relationship Id="rId2" Type="http://schemas.openxmlformats.org/officeDocument/2006/relationships/tags" Target="../tags/tag170.xml"/><Relationship Id="rId1" Type="http://schemas.openxmlformats.org/officeDocument/2006/relationships/tags" Target="../tags/tag169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14096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04843" y="5944195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9856" y="5944195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12555" y="5944195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" y="3703753"/>
            <a:ext cx="2783632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783633" y="3724723"/>
            <a:ext cx="2232247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015881" y="3703753"/>
            <a:ext cx="2141091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156971" y="3703753"/>
            <a:ext cx="2035373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9192344" y="3721527"/>
            <a:ext cx="2999656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5757054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3" y="5681849"/>
            <a:ext cx="1101722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Isosceles Triangle 8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46019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398" y="3645024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206971" y="3645024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5399" y="141277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4319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74860" y="1412776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70007" y="1412776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186433" y="1412776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74861" y="393305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031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95400" y="2975180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5400" y="4537584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30" y="1412776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870579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19897" y="1432991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7919897" y="2995395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919897" y="4557799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4446" y="1427497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20882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50077" y="476672"/>
            <a:ext cx="20954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</a:rPr>
              <a:t>Contact Us</a:t>
            </a:r>
            <a:endParaRPr lang="en-GB" sz="2400" b="1" dirty="0">
              <a:solidFill>
                <a:prstClr val="white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vironmental Affairs and Development Planning\WCG - Logo - Environmental Affairs and Development Planning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4903" y="1923155"/>
            <a:ext cx="3214464" cy="679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137999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  <a:cs typeface="Arabic Typesetting" panose="03020402040406030203" pitchFamily="66" charset="-78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4702499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95399" y="1412777"/>
            <a:ext cx="10838996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356440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Footn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2080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67409" y="1196752"/>
            <a:ext cx="10585175" cy="36004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</p:spTree>
    <p:extLst>
      <p:ext uri="{BB962C8B-B14F-4D97-AF65-F5344CB8AC3E}">
        <p14:creationId xmlns:p14="http://schemas.microsoft.com/office/powerpoint/2010/main" val="296246110"/>
      </p:ext>
    </p:extLst>
  </p:cSld>
  <p:clrMapOvr>
    <a:masterClrMapping/>
  </p:clrMapOvr>
  <p:transition spd="slow">
    <p:push dir="u"/>
  </p:transition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5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0353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04512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54110" y="1412774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95399" y="1412775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890922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56040" y="1412776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3532181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2252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4263468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21827" y="4263468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1562397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5375175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398" y="3645024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206971" y="3645024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5399" y="141277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881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74860" y="1412776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70007" y="1412776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186433" y="1412776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74861" y="393305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049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5399" y="180976"/>
            <a:ext cx="10873209" cy="559256"/>
          </a:xfrm>
        </p:spPr>
        <p:txBody>
          <a:bodyPr wrap="none">
            <a:noAutofit/>
          </a:bodyPr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1C05B66C-8BBC-4727-B35B-1A99CC565EDC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398" y="1174643"/>
            <a:ext cx="10873209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8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871337" y="6468150"/>
            <a:ext cx="2977191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900" dirty="0">
                <a:solidFill>
                  <a:srgbClr val="998F86"/>
                </a:solidFill>
              </a:rPr>
              <a:t>Bergrivier Municipality: 4th Generation IDP Support</a:t>
            </a:r>
            <a:endParaRPr lang="en-GB" sz="900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687910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95400" y="2975180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5400" y="4537584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30" y="1412776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026631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19897" y="1432991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7919897" y="2995395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919897" y="4557799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4446" y="1427497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339586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50077" y="476672"/>
            <a:ext cx="20954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</a:rPr>
              <a:t>Contact Us</a:t>
            </a:r>
            <a:endParaRPr lang="en-GB" sz="2400" b="1" dirty="0">
              <a:solidFill>
                <a:prstClr val="white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vironmental Affairs and Development Planning\WCG - Logo - Environmental Affairs and Development Planning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4903" y="1923155"/>
            <a:ext cx="3214464" cy="679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34275063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  <a:cs typeface="Arabic Typesetting" panose="03020402040406030203" pitchFamily="66" charset="-78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0582026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/>
          <p:nvPr/>
        </p:nvSpPr>
        <p:spPr>
          <a:xfrm>
            <a:off x="1600200" y="0"/>
            <a:ext cx="5029200" cy="59436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751777" y="3019706"/>
            <a:ext cx="4846320" cy="2387600"/>
          </a:xfrm>
        </p:spPr>
        <p:txBody>
          <a:bodyPr anchor="b">
            <a:normAutofit/>
          </a:bodyPr>
          <a:lstStyle>
            <a:lvl1pPr algn="l">
              <a:lnSpc>
                <a:spcPct val="90000"/>
              </a:lnSpc>
              <a:defRPr sz="48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751777" y="5381894"/>
            <a:ext cx="4846320" cy="448056"/>
          </a:xfrm>
        </p:spPr>
        <p:txBody>
          <a:bodyPr>
            <a:normAutofit/>
          </a:bodyPr>
          <a:lstStyle>
            <a:lvl1pPr marL="0" indent="0" algn="l">
              <a:spcBef>
                <a:spcPts val="0"/>
              </a:spcBef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/>
          </a:p>
        </p:txBody>
      </p:sp>
      <p:pic>
        <p:nvPicPr>
          <p:cNvPr id="8" name="Picture 7" descr="Puffy white clouds in deep blue sky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7400"/>
            <a:ext cx="1490472" cy="3886200"/>
          </a:xfrm>
          <a:prstGeom prst="rect">
            <a:avLst/>
          </a:prstGeom>
        </p:spPr>
      </p:pic>
      <p:pic>
        <p:nvPicPr>
          <p:cNvPr id="10" name="Picture 9" descr="Closeup of plant shoot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6739128" y="2057400"/>
            <a:ext cx="2060767" cy="3886200"/>
          </a:xfrm>
          <a:prstGeom prst="rect">
            <a:avLst/>
          </a:prstGeom>
        </p:spPr>
      </p:pic>
      <p:pic>
        <p:nvPicPr>
          <p:cNvPr id="11" name="Picture 10" descr="Waves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9623" y="2057400"/>
            <a:ext cx="3282696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64027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88BBEF9-8A0D-40BE-B39D-3BF38973BE6B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781473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/>
          <p:cNvSpPr/>
          <p:nvPr/>
        </p:nvSpPr>
        <p:spPr>
          <a:xfrm>
            <a:off x="1600199" y="2059146"/>
            <a:ext cx="7199696" cy="3886200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prstClr val="white"/>
              </a:solidFill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51777" y="2263913"/>
            <a:ext cx="6949440" cy="3143393"/>
          </a:xfrm>
        </p:spPr>
        <p:txBody>
          <a:bodyPr anchor="b"/>
          <a:lstStyle>
            <a:lvl1pPr>
              <a:defRPr sz="6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751777" y="5381893"/>
            <a:ext cx="6949440" cy="449523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 sz="2400">
                <a:solidFill>
                  <a:schemeClr val="bg1"/>
                </a:solidFill>
              </a:defRPr>
            </a:lvl1pPr>
            <a:lvl2pPr marL="457200" indent="0">
              <a:buNone/>
              <a:defRPr sz="2000"/>
            </a:lvl2pPr>
            <a:lvl3pPr marL="914400" indent="0">
              <a:buNone/>
              <a:defRPr sz="18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1" name="Picture 10" descr="Closeup of green plants"/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2059146"/>
            <a:ext cx="1490472" cy="3886200"/>
          </a:xfrm>
          <a:prstGeom prst="rect">
            <a:avLst/>
          </a:prstGeom>
        </p:spPr>
      </p:pic>
      <p:pic>
        <p:nvPicPr>
          <p:cNvPr id="9" name="Picture 8" descr="Waves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8909623" y="2059146"/>
            <a:ext cx="3282696" cy="3886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5599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3768">
          <p15:clr>
            <a:srgbClr val="FDE53C"/>
          </p15:clr>
        </p15:guide>
        <p15:guide id="2" orient="horz" pos="1296">
          <p15:clr>
            <a:srgbClr val="FDE53C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409700" y="1556281"/>
            <a:ext cx="4610099" cy="4620682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72200" y="1556281"/>
            <a:ext cx="4609775" cy="4620682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CA17D42-FB23-4862-855E-CFC2C78265D8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290703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09699" y="1554480"/>
            <a:ext cx="4608576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1409699" y="2434147"/>
            <a:ext cx="4608576" cy="381127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72200" y="1554480"/>
            <a:ext cx="4610100" cy="823912"/>
          </a:xfrm>
        </p:spPr>
        <p:txBody>
          <a:bodyPr anchor="b">
            <a:normAutofit/>
          </a:bodyPr>
          <a:lstStyle>
            <a:lvl1pPr marL="0" indent="0">
              <a:spcBef>
                <a:spcPts val="0"/>
              </a:spcBef>
              <a:buNone/>
              <a:defRPr sz="22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72200" y="2434147"/>
            <a:ext cx="4610100" cy="3811271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582E4E-53E8-4088-9A4E-A379CCA5FBC3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58626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3E9BB12-D214-4CCA-A2EE-F0E90CD2E4EF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027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196753"/>
            <a:ext cx="5184575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196753"/>
            <a:ext cx="5222370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Isosceles Triangle 7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4259705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350ED20-9580-4A3F-B8D5-3CABFCB47640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46491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2434" y="919616"/>
            <a:ext cx="4155622" cy="253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409699" y="915923"/>
            <a:ext cx="5216979" cy="5065776"/>
          </a:xfrm>
        </p:spPr>
        <p:txBody>
          <a:bodyPr/>
          <a:lstStyle>
            <a:lvl1pPr>
              <a:defRPr sz="2200"/>
            </a:lvl1pPr>
            <a:lvl2pPr>
              <a:defRPr sz="18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82434" y="3502152"/>
            <a:ext cx="4155622" cy="2479548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9DD4C3C-FC57-4F1D-BBEF-715D227BC8F1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5574813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682435" y="919616"/>
            <a:ext cx="4155622" cy="2532888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Picture Placeholder 2" descr="An empty placeholder to add an image. Click on the placeholder and select the image that you wish to add"/>
          <p:cNvSpPr>
            <a:spLocks noGrp="1"/>
          </p:cNvSpPr>
          <p:nvPr>
            <p:ph type="pic" idx="1"/>
          </p:nvPr>
        </p:nvSpPr>
        <p:spPr>
          <a:xfrm>
            <a:off x="0" y="915923"/>
            <a:ext cx="6626677" cy="5065776"/>
          </a:xfrm>
        </p:spPr>
        <p:txBody>
          <a:bodyPr tIns="1371600">
            <a:normAutofit/>
          </a:bodyPr>
          <a:lstStyle>
            <a:lvl1pPr marL="0" indent="0" algn="ctr">
              <a:spcBef>
                <a:spcPts val="0"/>
              </a:spcBef>
              <a:buNone/>
              <a:defRPr sz="2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  <a:endParaRPr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682435" y="3502152"/>
            <a:ext cx="4155622" cy="2479547"/>
          </a:xfrm>
        </p:spPr>
        <p:txBody>
          <a:bodyPr>
            <a:normAutofit/>
          </a:bodyPr>
          <a:lstStyle>
            <a:lvl1pPr marL="0" indent="0">
              <a:spcBef>
                <a:spcPts val="900"/>
              </a:spcBef>
              <a:buNone/>
              <a:defRPr sz="18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2FAF1-9F82-45D7-AC8E-935ABEEBACC3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295735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070716D-6779-4284-BB21-526018D56102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59398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24900" y="190500"/>
            <a:ext cx="2057400" cy="5986463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838200" y="190500"/>
            <a:ext cx="7734300" cy="5986463"/>
          </a:xfrm>
        </p:spPr>
        <p:txBody>
          <a:bodyPr vert="eaVert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9CD8D479-8942-46E8-A226-A4E01F7A105C}" type="slidenum">
              <a:rPr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60BEE31-C4A3-4F63-A837-B2394D9981DB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8110093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arge Image and Tex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0F23EB7-E336-46EB-A4A0-3DB7A6BF4CE1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4000" y="3517901"/>
            <a:ext cx="6012000" cy="1409700"/>
          </a:xfrm>
          <a:solidFill>
            <a:schemeClr val="tx1"/>
          </a:solidFill>
        </p:spPr>
        <p:txBody>
          <a:bodyPr lIns="288000" rIns="432000" bIns="144000" anchor="b"/>
          <a:lstStyle>
            <a:lvl1pPr algn="r">
              <a:defRPr sz="4200" spc="-15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itle style</a:t>
            </a:r>
            <a:endParaRPr lang="en-ZA" dirty="0"/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C9980B88-3F4A-4688-9ED0-17EF37E62D93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4000" y="4927600"/>
            <a:ext cx="6012000" cy="1845743"/>
          </a:xfrm>
          <a:solidFill>
            <a:schemeClr val="tx1">
              <a:lumMod val="85000"/>
              <a:lumOff val="15000"/>
            </a:schemeClr>
          </a:solidFill>
        </p:spPr>
        <p:txBody>
          <a:bodyPr lIns="288000" tIns="144000" rIns="432000"/>
          <a:lstStyle>
            <a:lvl1pPr marL="0" indent="0" algn="r">
              <a:buNone/>
              <a:defRPr sz="21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B9994FE7-F6B5-D34D-B846-52B81F6F601D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19B51A1E-902D-48AF-9020-955120F399B6}" type="slidenum">
              <a:rPr lang="en-ZA" smtClean="0"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 lang="en-ZA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6989E631-FFE0-4842-9C8D-2977AD46DA07}"/>
              </a:ext>
            </a:extLst>
          </p:cNvPr>
          <p:cNvSpPr txBox="1"/>
          <p:nvPr userDrawn="1"/>
        </p:nvSpPr>
        <p:spPr>
          <a:xfrm>
            <a:off x="5861957" y="6613071"/>
            <a:ext cx="0" cy="0"/>
          </a:xfrm>
          <a:prstGeom prst="rect">
            <a:avLst/>
          </a:prstGeom>
          <a:noFill/>
        </p:spPr>
        <p:txBody>
          <a:bodyPr wrap="none" lIns="0" tIns="0" rIns="0" bIns="0" rtlCol="0">
            <a:noAutofit/>
          </a:bodyPr>
          <a:lstStyle/>
          <a:p>
            <a:endParaRPr lang="en-US" sz="1200" dirty="0">
              <a:solidFill>
                <a:srgbClr val="4D3E2F">
                  <a:lumMod val="75000"/>
                  <a:lumOff val="25000"/>
                </a:srgbClr>
              </a:solidFill>
            </a:endParaRPr>
          </a:p>
        </p:txBody>
      </p:sp>
      <p:sp>
        <p:nvSpPr>
          <p:cNvPr id="32" name="Picture Placeholder 31">
            <a:extLst>
              <a:ext uri="{FF2B5EF4-FFF2-40B4-BE49-F238E27FC236}">
                <a16:creationId xmlns:a16="http://schemas.microsoft.com/office/drawing/2014/main" id="{6BC25646-06FC-4B3E-A74E-268EB8AEA602}"/>
              </a:ext>
            </a:extLst>
          </p:cNvPr>
          <p:cNvSpPr>
            <a:spLocks noGrp="1"/>
          </p:cNvSpPr>
          <p:nvPr>
            <p:ph type="pic" sz="quarter" idx="12" hasCustomPrompt="1"/>
          </p:nvPr>
        </p:nvSpPr>
        <p:spPr>
          <a:xfrm>
            <a:off x="84000" y="86714"/>
            <a:ext cx="6009285" cy="3431187"/>
          </a:xfrm>
          <a:solidFill>
            <a:srgbClr val="333333"/>
          </a:solidFill>
        </p:spPr>
        <p:txBody>
          <a:bodyPr lIns="0" tIns="0" anchor="ctr"/>
          <a:lstStyle>
            <a:lvl1pPr marL="0" indent="0" algn="ctr">
              <a:buNone/>
              <a:defRPr sz="1100" i="1">
                <a:solidFill>
                  <a:schemeClr val="bg1">
                    <a:lumMod val="85000"/>
                  </a:schemeClr>
                </a:solidFill>
                <a:latin typeface="Times New Roman" panose="02020603050405020304" pitchFamily="18" charset="0"/>
                <a:cs typeface="Times New Roman" panose="02020603050405020304" pitchFamily="18" charset="0"/>
              </a:defRPr>
            </a:lvl1pPr>
          </a:lstStyle>
          <a:p>
            <a:r>
              <a:rPr lang="en-ZA" dirty="0"/>
              <a:t>Insert or Drag and Drop Image Her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ED5F0C9D-A08F-4539-BA26-61D24BBE6E9A}"/>
              </a:ext>
            </a:extLst>
          </p:cNvPr>
          <p:cNvSpPr>
            <a:spLocks noGrp="1"/>
          </p:cNvSpPr>
          <p:nvPr>
            <p:ph idx="15"/>
          </p:nvPr>
        </p:nvSpPr>
        <p:spPr>
          <a:xfrm>
            <a:off x="6464300" y="1152000"/>
            <a:ext cx="5307700" cy="4680000"/>
          </a:xfrm>
        </p:spPr>
        <p:txBody>
          <a:bodyPr anchor="b"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3pPr>
            <a:lvl4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ZA" dirty="0"/>
          </a:p>
        </p:txBody>
      </p:sp>
    </p:spTree>
    <p:extLst>
      <p:ext uri="{BB962C8B-B14F-4D97-AF65-F5344CB8AC3E}">
        <p14:creationId xmlns:p14="http://schemas.microsoft.com/office/powerpoint/2010/main" val="73452318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14096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04843" y="5944195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r>
              <a:rPr lang="en-US">
                <a:solidFill>
                  <a:prstClr val="white"/>
                </a:solidFill>
              </a:rPr>
              <a:t>6 August 2019</a:t>
            </a:r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9856" y="5944195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12555" y="5944195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" y="3703753"/>
            <a:ext cx="2783632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783633" y="3724723"/>
            <a:ext cx="2232247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015881" y="3703753"/>
            <a:ext cx="2141091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156971" y="3703753"/>
            <a:ext cx="2035373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9192344" y="3721527"/>
            <a:ext cx="2999656" cy="1512888"/>
          </a:xfrm>
        </p:spPr>
        <p:txBody>
          <a:bodyPr/>
          <a:lstStyle/>
          <a:p>
            <a:endParaRPr lang="en-ZA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701971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5399" y="180976"/>
            <a:ext cx="10873209" cy="559256"/>
          </a:xfrm>
        </p:spPr>
        <p:txBody>
          <a:bodyPr wrap="none">
            <a:noAutofit/>
          </a:bodyPr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1C05B66C-8BBC-4727-B35B-1A99CC565EDC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398" y="1174643"/>
            <a:ext cx="10873209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8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871337" y="6468150"/>
            <a:ext cx="2977191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900" dirty="0">
                <a:solidFill>
                  <a:srgbClr val="998F86"/>
                </a:solidFill>
              </a:rPr>
              <a:t>Bergrivier Municipality: 4th Generation IDP Support</a:t>
            </a:r>
            <a:endParaRPr lang="en-GB" sz="900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8682376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196753"/>
            <a:ext cx="5184575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196753"/>
            <a:ext cx="5222370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Isosceles Triangle 7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2603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40033"/>
            <a:ext cx="10873208" cy="528708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6" name="Isosceles Triangle 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12206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40033"/>
            <a:ext cx="10873208" cy="528708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6" name="Isosceles Triangle 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093085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2777"/>
            <a:ext cx="10873208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730990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38996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38996" cy="228781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0571"/>
            <a:ext cx="5184575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410571"/>
            <a:ext cx="5222370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sosceles Triangle 1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487443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00789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9985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841013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400" y="5681849"/>
            <a:ext cx="10873208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5400" y="1196752"/>
            <a:ext cx="10873208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Isosceles Triangle 9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7603458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73209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399" y="1196752"/>
            <a:ext cx="5112569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126235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84127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3" y="5681849"/>
            <a:ext cx="1101722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Isosceles Triangle 8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824382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95399" y="1412777"/>
            <a:ext cx="10838996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480944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Footno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233028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67409" y="1196752"/>
            <a:ext cx="10585175" cy="36004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</p:spTree>
    <p:extLst>
      <p:ext uri="{BB962C8B-B14F-4D97-AF65-F5344CB8AC3E}">
        <p14:creationId xmlns:p14="http://schemas.microsoft.com/office/powerpoint/2010/main" val="3157338796"/>
      </p:ext>
    </p:extLst>
  </p:cSld>
  <p:clrMapOvr>
    <a:masterClrMapping/>
  </p:clrMapOvr>
  <p:transition spd="slow">
    <p:push dir="u"/>
  </p:transition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5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004614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2777"/>
            <a:ext cx="10873208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01432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04512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54110" y="1412774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95399" y="1412775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5842519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56040" y="1412776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3532181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395939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4263468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21827" y="4263468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1562397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4155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398" y="3645024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5" y="3645024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206971" y="3645024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5399" y="141277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134937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1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74860" y="1412776"/>
            <a:ext cx="331236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70007" y="1412776"/>
            <a:ext cx="343364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186433" y="1412776"/>
            <a:ext cx="3361638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74861" y="3933056"/>
            <a:ext cx="1087321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2" name="Isosceles Triangle 11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475289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95400" y="2975180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695400" y="4537584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30" y="1412776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3098926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19897" y="1432991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7919897" y="2995395"/>
            <a:ext cx="3614498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7919897" y="4557799"/>
            <a:ext cx="3614498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694446" y="1427497"/>
            <a:ext cx="6936466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980729"/>
            <a:ext cx="10838995" cy="43204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288945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dirty="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335B74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650077" y="476672"/>
            <a:ext cx="2095445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</a:rPr>
              <a:t>Contact Us</a:t>
            </a:r>
            <a:endParaRPr lang="en-GB" sz="2400" b="1" dirty="0">
              <a:solidFill>
                <a:prstClr val="white"/>
              </a:solidFill>
              <a:latin typeface="Bradley Hand ITC" panose="03070402050302030203" pitchFamily="66" charset="0"/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 descr="C:\Users\Conny\Desktop\WCG\WCG - Logo\PNG\Logos blue\Evironmental Affairs and Development Planning\WCG - Logo - Environmental Affairs and Development Planning - Tagline - Blue.png"/>
          <p:cNvPicPr>
            <a:picLocks noChangeAspect="1" noChangeArrowheads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054903" y="1923155"/>
            <a:ext cx="3214464" cy="67979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247927262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10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75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</p:bldLst>
  </p:timing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ck Slide &quot;Thank You&quot;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b="1" dirty="0">
                <a:solidFill>
                  <a:prstClr val="white"/>
                </a:solidFill>
                <a:latin typeface="Bradley Hand ITC" panose="03070402050302030203" pitchFamily="66" charset="0"/>
                <a:cs typeface="Arabic Typesetting" panose="03020402040406030203" pitchFamily="66" charset="-78"/>
              </a:rPr>
              <a:t>Thank you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3223801"/>
            <a:ext cx="12192000" cy="24674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99344034"/>
      </p:ext>
    </p:extLst>
  </p:cSld>
  <p:clrMapOvr>
    <a:masterClrMapping/>
  </p:clrMapOvr>
  <p:transition spd="slow">
    <p:push dir="u"/>
  </p:transition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remove" grpId="0" nodeType="afterEffect">
                                  <p:stCondLst>
                                    <p:cond delay="500"/>
                                  </p:stCondLst>
                                  <p:iterate type="lt">
                                    <p:tmPct val="8000"/>
                                  </p:iterate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11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5571" y="266817"/>
            <a:ext cx="5481463" cy="1761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ight Triangle 2"/>
          <p:cNvSpPr/>
          <p:nvPr userDrawn="1"/>
        </p:nvSpPr>
        <p:spPr>
          <a:xfrm flipH="1">
            <a:off x="2063552" y="2708920"/>
            <a:ext cx="10128448" cy="216024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3505348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38996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38996" cy="228781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0571"/>
            <a:ext cx="5184575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410571"/>
            <a:ext cx="5222370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sosceles Triangle 1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51981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5028706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07524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9397395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5285386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53323308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7315329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05143742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786559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</p:spTree>
    <p:extLst>
      <p:ext uri="{BB962C8B-B14F-4D97-AF65-F5344CB8AC3E}">
        <p14:creationId xmlns:p14="http://schemas.microsoft.com/office/powerpoint/2010/main" val="1018698482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6676792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00789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9985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149605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3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90858264"/>
      </p:ext>
    </p:extLst>
  </p:cSld>
  <p:clrMapOvr>
    <a:masterClrMapping/>
  </p:clrMapOvr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12631165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8" name="Picture 115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26171" y="6026976"/>
            <a:ext cx="1837381" cy="5904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Right Triangle 8"/>
          <p:cNvSpPr/>
          <p:nvPr userDrawn="1"/>
        </p:nvSpPr>
        <p:spPr>
          <a:xfrm flipH="1">
            <a:off x="911424" y="5589240"/>
            <a:ext cx="11280576" cy="72008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4031937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968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270569471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89" y="1412776"/>
            <a:ext cx="3206023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43340876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62940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77831399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13431198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629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33414143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12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629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854083289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29" y="1412776"/>
            <a:ext cx="7296811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61932714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400" y="5681849"/>
            <a:ext cx="10873208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5400" y="1196752"/>
            <a:ext cx="10873208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Isosceles Triangle 9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2193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780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0669005"/>
      </p:ext>
    </p:extLst>
  </p:cSld>
  <p:clrMapOvr>
    <a:masterClrMapping/>
  </p:clrMapOvr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2" name="Group 21"/>
          <p:cNvGrpSpPr/>
          <p:nvPr userDrawn="1"/>
        </p:nvGrpSpPr>
        <p:grpSpPr>
          <a:xfrm>
            <a:off x="2913435" y="1790072"/>
            <a:ext cx="6336704" cy="2880320"/>
            <a:chOff x="3635896" y="3356992"/>
            <a:chExt cx="4752528" cy="2880320"/>
          </a:xfr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grpSpPr>
        <p:sp>
          <p:nvSpPr>
            <p:cNvPr id="2" name="Rectangle 1"/>
            <p:cNvSpPr/>
            <p:nvPr userDrawn="1"/>
          </p:nvSpPr>
          <p:spPr>
            <a:xfrm>
              <a:off x="3635896" y="3356992"/>
              <a:ext cx="4752528" cy="288032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 sz="1800">
                <a:solidFill>
                  <a:prstClr val="white"/>
                </a:solidFill>
              </a:endParaRPr>
            </a:p>
          </p:txBody>
        </p:sp>
        <p:pic>
          <p:nvPicPr>
            <p:cNvPr id="11" name="Picture 10"/>
            <p:cNvPicPr>
              <a:picLocks noChangeAspect="1"/>
            </p:cNvPicPr>
            <p:nvPr userDrawn="1">
              <p:custDataLst>
                <p:tags r:id="rId1"/>
              </p:custDataLst>
            </p:nvPr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/>
          </p:blipFill>
          <p:spPr>
            <a:xfrm>
              <a:off x="4125978" y="4761028"/>
              <a:ext cx="4262446" cy="334548"/>
            </a:xfrm>
            <a:prstGeom prst="rect">
              <a:avLst/>
            </a:prstGeom>
          </p:spPr>
        </p:pic>
      </p:grp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3" name="Picture 2"/>
          <p:cNvPicPr>
            <a:picLocks noChangeAspect="1" noChangeArrowheads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817424" y="1902194"/>
            <a:ext cx="2510491" cy="8067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1175082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sp>
        <p:nvSpPr>
          <p:cNvPr id="4" name="Right Triangle 3"/>
          <p:cNvSpPr/>
          <p:nvPr userDrawn="1"/>
        </p:nvSpPr>
        <p:spPr>
          <a:xfrm flipH="1">
            <a:off x="2063552" y="3284985"/>
            <a:ext cx="10128448" cy="102473"/>
          </a:xfrm>
          <a:prstGeom prst="rtTriangle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85348839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14096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04843" y="5944195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799856" y="5944195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12555" y="5944195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2"/>
          </p:nvPr>
        </p:nvSpPr>
        <p:spPr>
          <a:xfrm>
            <a:off x="1" y="3703753"/>
            <a:ext cx="2783632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1" name="Picture Placeholder 3"/>
          <p:cNvSpPr>
            <a:spLocks noGrp="1"/>
          </p:cNvSpPr>
          <p:nvPr>
            <p:ph type="pic" sz="quarter" idx="13"/>
          </p:nvPr>
        </p:nvSpPr>
        <p:spPr>
          <a:xfrm>
            <a:off x="2783633" y="3724723"/>
            <a:ext cx="2232247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/>
          </p:nvPr>
        </p:nvSpPr>
        <p:spPr>
          <a:xfrm>
            <a:off x="5015881" y="3703753"/>
            <a:ext cx="2141091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/>
          </p:nvPr>
        </p:nvSpPr>
        <p:spPr>
          <a:xfrm>
            <a:off x="7156971" y="3703753"/>
            <a:ext cx="2035373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6"/>
          </p:nvPr>
        </p:nvSpPr>
        <p:spPr>
          <a:xfrm>
            <a:off x="9192344" y="3721527"/>
            <a:ext cx="2999656" cy="1512888"/>
          </a:xfrm>
        </p:spPr>
        <p:txBody>
          <a:bodyPr/>
          <a:lstStyle/>
          <a:p>
            <a:endParaRPr lang="en-ZA" dirty="0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21742597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695399" y="180976"/>
            <a:ext cx="10873209" cy="559256"/>
          </a:xfrm>
        </p:spPr>
        <p:txBody>
          <a:bodyPr wrap="none">
            <a:noAutofit/>
          </a:bodyPr>
          <a:lstStyle>
            <a:lvl1pPr>
              <a:defRPr/>
            </a:lvl1pPr>
          </a:lstStyle>
          <a:p>
            <a:r>
              <a:rPr lang="en-US" dirty="0"/>
              <a:t>Title</a:t>
            </a:r>
            <a:endParaRPr lang="en-ZA" dirty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1C05B66C-8BBC-4727-B35B-1A99CC565EDC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398" y="1174643"/>
            <a:ext cx="10873209" cy="489607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9" name="Rectangle 8"/>
          <p:cNvSpPr>
            <a:spLocks/>
          </p:cNvSpPr>
          <p:nvPr userDrawn="1">
            <p:custDataLst>
              <p:tags r:id="rId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7871337" y="6468150"/>
            <a:ext cx="2977191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sz="900" dirty="0">
                <a:solidFill>
                  <a:srgbClr val="998F86"/>
                </a:solidFill>
              </a:rPr>
              <a:t>Bergrivier Municipality: 4th Generation IDP Support</a:t>
            </a:r>
            <a:endParaRPr lang="en-GB" sz="900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20748130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5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196753"/>
            <a:ext cx="5184575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196753"/>
            <a:ext cx="5222370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8" name="Isosceles Triangle 7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252062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40033"/>
            <a:ext cx="10873208" cy="528708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6" name="Isosceles Triangle 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125181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8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2777"/>
            <a:ext cx="10873208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2708319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38996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38996" cy="228781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5015880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695400" y="1410571"/>
            <a:ext cx="5184575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  <a:endParaRPr lang="en-GB" dirty="0"/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312025" y="1410571"/>
            <a:ext cx="5222370" cy="468272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Isosceles Triangle 15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4051618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00789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99856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7" name="Isosceles Triangle 6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326476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73209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399" y="1196752"/>
            <a:ext cx="5112569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126235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31917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400" y="5681849"/>
            <a:ext cx="10873208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95400" y="1196752"/>
            <a:ext cx="10873208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Isosceles Triangle 9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2285133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73209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695399" y="1196752"/>
            <a:ext cx="5112569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126235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521192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551383" y="5681849"/>
            <a:ext cx="11017225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Isosceles Triangle 8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596048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695399" y="1412777"/>
            <a:ext cx="10838996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639282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38996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943872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695399" y="5681849"/>
            <a:ext cx="10838996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5945"/>
            <a:ext cx="10838995" cy="23281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603800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67409" y="1196752"/>
            <a:ext cx="10585175" cy="3600400"/>
          </a:xfrm>
          <a:prstGeom prst="rect">
            <a:avLst/>
          </a:prstGeom>
          <a:solidFill>
            <a:schemeClr val="tx2"/>
          </a:solidFill>
        </p:spPr>
        <p:txBody>
          <a:bodyPr anchor="ctr">
            <a:normAutofit/>
          </a:bodyPr>
          <a:lstStyle>
            <a:lvl1pPr>
              <a:defRPr sz="3200" b="0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</p:spTree>
    <p:extLst>
      <p:ext uri="{BB962C8B-B14F-4D97-AF65-F5344CB8AC3E}">
        <p14:creationId xmlns:p14="http://schemas.microsoft.com/office/powerpoint/2010/main" val="264018655"/>
      </p:ext>
    </p:extLst>
  </p:cSld>
  <p:clrMapOvr>
    <a:masterClrMapping/>
  </p:clrMapOvr>
  <p:transition spd="slow">
    <p:push dir="u"/>
  </p:transition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5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9826274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399" y="180976"/>
            <a:ext cx="10873209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04512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87186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7954110" y="1412774"/>
            <a:ext cx="3614498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95399" y="1412775"/>
            <a:ext cx="6970679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399" y="1039979"/>
            <a:ext cx="10873209" cy="372796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141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848528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1412776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56040" y="1412776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3532181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035034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5400" y="180976"/>
            <a:ext cx="10873208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  <p:custDataLst>
              <p:tags r:id="rId1"/>
            </p:custDataLst>
          </p:nvPr>
        </p:nvSpPr>
        <p:spPr>
          <a:xfrm>
            <a:off x="10776520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10" name="Footer Placeholder 4"/>
          <p:cNvSpPr>
            <a:spLocks noGrp="1"/>
          </p:cNvSpPr>
          <p:nvPr>
            <p:ph type="ftr" sz="quarter" idx="3"/>
            <p:custDataLst>
              <p:tags r:id="rId2"/>
            </p:custDataLst>
          </p:nvPr>
        </p:nvSpPr>
        <p:spPr>
          <a:xfrm>
            <a:off x="4727848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endParaRPr lang="en-GB" dirty="0">
              <a:solidFill>
                <a:srgbClr val="27CED7"/>
              </a:solidFill>
            </a:endParaRPr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695400" y="4263468"/>
            <a:ext cx="5112567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421827" y="4263468"/>
            <a:ext cx="5112568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695400" y="1562397"/>
            <a:ext cx="10838995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95400" y="1039979"/>
            <a:ext cx="10873208" cy="372797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Isosceles Triangle 10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299706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>
        <p14:reveal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42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0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8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9" dur="1000" fill="hold"/>
                                        <p:tgtEl>
                                          <p:spTgt spid="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+.1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" grpId="0"/>
    </p:bldLst>
  </p:timing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tags" Target="../tags/tag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vmlDrawing" Target="../drawings/vmlDrawing1.v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4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theme" Target="../theme/theme1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ags" Target="../tags/tag3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tags" Target="../tags/tag5.xml"/><Relationship Id="rId8" Type="http://schemas.openxmlformats.org/officeDocument/2006/relationships/slideLayout" Target="../slideLayouts/slideLayout8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48.xml"/><Relationship Id="rId18" Type="http://schemas.openxmlformats.org/officeDocument/2006/relationships/slideLayout" Target="../slideLayouts/slideLayout53.xml"/><Relationship Id="rId26" Type="http://schemas.openxmlformats.org/officeDocument/2006/relationships/tags" Target="../tags/tag45.xml"/><Relationship Id="rId3" Type="http://schemas.openxmlformats.org/officeDocument/2006/relationships/slideLayout" Target="../slideLayouts/slideLayout38.xml"/><Relationship Id="rId21" Type="http://schemas.openxmlformats.org/officeDocument/2006/relationships/slideLayout" Target="../slideLayouts/slideLayout56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42.xml"/><Relationship Id="rId12" Type="http://schemas.openxmlformats.org/officeDocument/2006/relationships/slideLayout" Target="../slideLayouts/slideLayout47.xml"/><Relationship Id="rId17" Type="http://schemas.openxmlformats.org/officeDocument/2006/relationships/slideLayout" Target="../slideLayouts/slideLayout52.xml"/><Relationship Id="rId25" Type="http://schemas.openxmlformats.org/officeDocument/2006/relationships/vmlDrawing" Target="../drawings/vmlDrawing2.v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37.xml"/><Relationship Id="rId16" Type="http://schemas.openxmlformats.org/officeDocument/2006/relationships/slideLayout" Target="../slideLayouts/slideLayout51.xml"/><Relationship Id="rId20" Type="http://schemas.openxmlformats.org/officeDocument/2006/relationships/slideLayout" Target="../slideLayouts/slideLayout55.xml"/><Relationship Id="rId29" Type="http://schemas.openxmlformats.org/officeDocument/2006/relationships/tags" Target="../tags/tag48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11" Type="http://schemas.openxmlformats.org/officeDocument/2006/relationships/slideLayout" Target="../slideLayouts/slideLayout46.xml"/><Relationship Id="rId24" Type="http://schemas.openxmlformats.org/officeDocument/2006/relationships/theme" Target="../theme/theme3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40.xml"/><Relationship Id="rId15" Type="http://schemas.openxmlformats.org/officeDocument/2006/relationships/slideLayout" Target="../slideLayouts/slideLayout50.xml"/><Relationship Id="rId23" Type="http://schemas.openxmlformats.org/officeDocument/2006/relationships/slideLayout" Target="../slideLayouts/slideLayout58.xml"/><Relationship Id="rId28" Type="http://schemas.openxmlformats.org/officeDocument/2006/relationships/tags" Target="../tags/tag47.xml"/><Relationship Id="rId10" Type="http://schemas.openxmlformats.org/officeDocument/2006/relationships/slideLayout" Target="../slideLayouts/slideLayout45.xml"/><Relationship Id="rId19" Type="http://schemas.openxmlformats.org/officeDocument/2006/relationships/slideLayout" Target="../slideLayouts/slideLayout54.xml"/><Relationship Id="rId31" Type="http://schemas.openxmlformats.org/officeDocument/2006/relationships/oleObject" Target="../embeddings/oleObject2.bin"/><Relationship Id="rId4" Type="http://schemas.openxmlformats.org/officeDocument/2006/relationships/slideLayout" Target="../slideLayouts/slideLayout39.xml"/><Relationship Id="rId9" Type="http://schemas.openxmlformats.org/officeDocument/2006/relationships/slideLayout" Target="../slideLayouts/slideLayout44.xml"/><Relationship Id="rId14" Type="http://schemas.openxmlformats.org/officeDocument/2006/relationships/slideLayout" Target="../slideLayouts/slideLayout49.xml"/><Relationship Id="rId22" Type="http://schemas.openxmlformats.org/officeDocument/2006/relationships/slideLayout" Target="../slideLayouts/slideLayout57.xml"/><Relationship Id="rId27" Type="http://schemas.openxmlformats.org/officeDocument/2006/relationships/tags" Target="../tags/tag46.xml"/><Relationship Id="rId30" Type="http://schemas.openxmlformats.org/officeDocument/2006/relationships/tags" Target="../tags/tag49.xml"/><Relationship Id="rId8" Type="http://schemas.openxmlformats.org/officeDocument/2006/relationships/slideLayout" Target="../slideLayouts/slideLayout43.xml"/></Relationships>
</file>

<file path=ppt/slideMasters/_rels/slideMaster4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71.xml"/><Relationship Id="rId18" Type="http://schemas.openxmlformats.org/officeDocument/2006/relationships/slideLayout" Target="../slideLayouts/slideLayout76.xml"/><Relationship Id="rId26" Type="http://schemas.openxmlformats.org/officeDocument/2006/relationships/vmlDrawing" Target="../drawings/vmlDrawing3.vml"/><Relationship Id="rId3" Type="http://schemas.openxmlformats.org/officeDocument/2006/relationships/slideLayout" Target="../slideLayouts/slideLayout61.xml"/><Relationship Id="rId21" Type="http://schemas.openxmlformats.org/officeDocument/2006/relationships/slideLayout" Target="../slideLayouts/slideLayout79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65.xml"/><Relationship Id="rId12" Type="http://schemas.openxmlformats.org/officeDocument/2006/relationships/slideLayout" Target="../slideLayouts/slideLayout70.xml"/><Relationship Id="rId17" Type="http://schemas.openxmlformats.org/officeDocument/2006/relationships/slideLayout" Target="../slideLayouts/slideLayout75.xml"/><Relationship Id="rId25" Type="http://schemas.openxmlformats.org/officeDocument/2006/relationships/theme" Target="../theme/theme4.xml"/><Relationship Id="rId33" Type="http://schemas.openxmlformats.org/officeDocument/2006/relationships/oleObject" Target="../embeddings/oleObject3.bin"/><Relationship Id="rId2" Type="http://schemas.openxmlformats.org/officeDocument/2006/relationships/slideLayout" Target="../slideLayouts/slideLayout60.xml"/><Relationship Id="rId16" Type="http://schemas.openxmlformats.org/officeDocument/2006/relationships/slideLayout" Target="../slideLayouts/slideLayout74.xml"/><Relationship Id="rId20" Type="http://schemas.openxmlformats.org/officeDocument/2006/relationships/slideLayout" Target="../slideLayouts/slideLayout78.xml"/><Relationship Id="rId29" Type="http://schemas.openxmlformats.org/officeDocument/2006/relationships/tags" Target="../tags/tag91.xml"/><Relationship Id="rId1" Type="http://schemas.openxmlformats.org/officeDocument/2006/relationships/slideLayout" Target="../slideLayouts/slideLayout59.xml"/><Relationship Id="rId6" Type="http://schemas.openxmlformats.org/officeDocument/2006/relationships/slideLayout" Target="../slideLayouts/slideLayout64.xml"/><Relationship Id="rId11" Type="http://schemas.openxmlformats.org/officeDocument/2006/relationships/slideLayout" Target="../slideLayouts/slideLayout69.xml"/><Relationship Id="rId24" Type="http://schemas.openxmlformats.org/officeDocument/2006/relationships/slideLayout" Target="../slideLayouts/slideLayout82.xml"/><Relationship Id="rId32" Type="http://schemas.openxmlformats.org/officeDocument/2006/relationships/tags" Target="../tags/tag94.xml"/><Relationship Id="rId5" Type="http://schemas.openxmlformats.org/officeDocument/2006/relationships/slideLayout" Target="../slideLayouts/slideLayout63.xml"/><Relationship Id="rId15" Type="http://schemas.openxmlformats.org/officeDocument/2006/relationships/slideLayout" Target="../slideLayouts/slideLayout73.xml"/><Relationship Id="rId23" Type="http://schemas.openxmlformats.org/officeDocument/2006/relationships/slideLayout" Target="../slideLayouts/slideLayout81.xml"/><Relationship Id="rId28" Type="http://schemas.openxmlformats.org/officeDocument/2006/relationships/tags" Target="../tags/tag90.xml"/><Relationship Id="rId36" Type="http://schemas.openxmlformats.org/officeDocument/2006/relationships/image" Target="../media/image3.png"/><Relationship Id="rId10" Type="http://schemas.openxmlformats.org/officeDocument/2006/relationships/slideLayout" Target="../slideLayouts/slideLayout68.xml"/><Relationship Id="rId19" Type="http://schemas.openxmlformats.org/officeDocument/2006/relationships/slideLayout" Target="../slideLayouts/slideLayout77.xml"/><Relationship Id="rId31" Type="http://schemas.openxmlformats.org/officeDocument/2006/relationships/tags" Target="../tags/tag93.xml"/><Relationship Id="rId4" Type="http://schemas.openxmlformats.org/officeDocument/2006/relationships/slideLayout" Target="../slideLayouts/slideLayout62.xml"/><Relationship Id="rId9" Type="http://schemas.openxmlformats.org/officeDocument/2006/relationships/slideLayout" Target="../slideLayouts/slideLayout67.xml"/><Relationship Id="rId14" Type="http://schemas.openxmlformats.org/officeDocument/2006/relationships/slideLayout" Target="../slideLayouts/slideLayout72.xml"/><Relationship Id="rId22" Type="http://schemas.openxmlformats.org/officeDocument/2006/relationships/slideLayout" Target="../slideLayouts/slideLayout80.xml"/><Relationship Id="rId27" Type="http://schemas.openxmlformats.org/officeDocument/2006/relationships/tags" Target="../tags/tag89.xml"/><Relationship Id="rId30" Type="http://schemas.openxmlformats.org/officeDocument/2006/relationships/tags" Target="../tags/tag92.xml"/><Relationship Id="rId35" Type="http://schemas.openxmlformats.org/officeDocument/2006/relationships/image" Target="../media/image12.png"/><Relationship Id="rId8" Type="http://schemas.openxmlformats.org/officeDocument/2006/relationships/slideLayout" Target="../slideLayouts/slideLayout66.xml"/></Relationships>
</file>

<file path=ppt/slideMasters/_rels/slideMaster5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95.xml"/><Relationship Id="rId18" Type="http://schemas.openxmlformats.org/officeDocument/2006/relationships/slideLayout" Target="../slideLayouts/slideLayout100.xml"/><Relationship Id="rId26" Type="http://schemas.openxmlformats.org/officeDocument/2006/relationships/tags" Target="../tags/tag136.xml"/><Relationship Id="rId3" Type="http://schemas.openxmlformats.org/officeDocument/2006/relationships/slideLayout" Target="../slideLayouts/slideLayout85.xml"/><Relationship Id="rId21" Type="http://schemas.openxmlformats.org/officeDocument/2006/relationships/slideLayout" Target="../slideLayouts/slideLayout103.xml"/><Relationship Id="rId34" Type="http://schemas.openxmlformats.org/officeDocument/2006/relationships/image" Target="../media/image3.png"/><Relationship Id="rId7" Type="http://schemas.openxmlformats.org/officeDocument/2006/relationships/slideLayout" Target="../slideLayouts/slideLayout89.xml"/><Relationship Id="rId12" Type="http://schemas.openxmlformats.org/officeDocument/2006/relationships/slideLayout" Target="../slideLayouts/slideLayout94.xml"/><Relationship Id="rId17" Type="http://schemas.openxmlformats.org/officeDocument/2006/relationships/slideLayout" Target="../slideLayouts/slideLayout99.xml"/><Relationship Id="rId25" Type="http://schemas.openxmlformats.org/officeDocument/2006/relationships/vmlDrawing" Target="../drawings/vmlDrawing4.vml"/><Relationship Id="rId33" Type="http://schemas.openxmlformats.org/officeDocument/2006/relationships/image" Target="../media/image2.png"/><Relationship Id="rId2" Type="http://schemas.openxmlformats.org/officeDocument/2006/relationships/slideLayout" Target="../slideLayouts/slideLayout84.xml"/><Relationship Id="rId16" Type="http://schemas.openxmlformats.org/officeDocument/2006/relationships/slideLayout" Target="../slideLayouts/slideLayout98.xml"/><Relationship Id="rId20" Type="http://schemas.openxmlformats.org/officeDocument/2006/relationships/slideLayout" Target="../slideLayouts/slideLayout102.xml"/><Relationship Id="rId29" Type="http://schemas.openxmlformats.org/officeDocument/2006/relationships/tags" Target="../tags/tag139.xml"/><Relationship Id="rId1" Type="http://schemas.openxmlformats.org/officeDocument/2006/relationships/slideLayout" Target="../slideLayouts/slideLayout83.xml"/><Relationship Id="rId6" Type="http://schemas.openxmlformats.org/officeDocument/2006/relationships/slideLayout" Target="../slideLayouts/slideLayout88.xml"/><Relationship Id="rId11" Type="http://schemas.openxmlformats.org/officeDocument/2006/relationships/slideLayout" Target="../slideLayouts/slideLayout93.xml"/><Relationship Id="rId24" Type="http://schemas.openxmlformats.org/officeDocument/2006/relationships/theme" Target="../theme/theme5.xml"/><Relationship Id="rId32" Type="http://schemas.openxmlformats.org/officeDocument/2006/relationships/image" Target="../media/image1.emf"/><Relationship Id="rId5" Type="http://schemas.openxmlformats.org/officeDocument/2006/relationships/slideLayout" Target="../slideLayouts/slideLayout87.xml"/><Relationship Id="rId15" Type="http://schemas.openxmlformats.org/officeDocument/2006/relationships/slideLayout" Target="../slideLayouts/slideLayout97.xml"/><Relationship Id="rId23" Type="http://schemas.openxmlformats.org/officeDocument/2006/relationships/slideLayout" Target="../slideLayouts/slideLayout105.xml"/><Relationship Id="rId28" Type="http://schemas.openxmlformats.org/officeDocument/2006/relationships/tags" Target="../tags/tag138.xml"/><Relationship Id="rId10" Type="http://schemas.openxmlformats.org/officeDocument/2006/relationships/slideLayout" Target="../slideLayouts/slideLayout92.xml"/><Relationship Id="rId19" Type="http://schemas.openxmlformats.org/officeDocument/2006/relationships/slideLayout" Target="../slideLayouts/slideLayout101.xml"/><Relationship Id="rId31" Type="http://schemas.openxmlformats.org/officeDocument/2006/relationships/oleObject" Target="../embeddings/oleObject4.bin"/><Relationship Id="rId4" Type="http://schemas.openxmlformats.org/officeDocument/2006/relationships/slideLayout" Target="../slideLayouts/slideLayout86.xml"/><Relationship Id="rId9" Type="http://schemas.openxmlformats.org/officeDocument/2006/relationships/slideLayout" Target="../slideLayouts/slideLayout91.xml"/><Relationship Id="rId14" Type="http://schemas.openxmlformats.org/officeDocument/2006/relationships/slideLayout" Target="../slideLayouts/slideLayout96.xml"/><Relationship Id="rId22" Type="http://schemas.openxmlformats.org/officeDocument/2006/relationships/slideLayout" Target="../slideLayouts/slideLayout104.xml"/><Relationship Id="rId27" Type="http://schemas.openxmlformats.org/officeDocument/2006/relationships/tags" Target="../tags/tag137.xml"/><Relationship Id="rId30" Type="http://schemas.openxmlformats.org/officeDocument/2006/relationships/tags" Target="../tags/tag140.xml"/><Relationship Id="rId8" Type="http://schemas.openxmlformats.org/officeDocument/2006/relationships/slideLayout" Target="../slideLayouts/slideLayout9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3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623392" y="180976"/>
            <a:ext cx="10945216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623392" y="1196752"/>
            <a:ext cx="10945216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pic>
        <p:nvPicPr>
          <p:cNvPr id="12" name="Picture 115" descr="C:\Users\Conny\Desktop\WCG\WCG - Logo\PNG\Logos blue\Evironmental Affairs and Development Planning\WCG - Logo - Environmental Affairs and Development Planning - Blue.png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05" y="6260385"/>
            <a:ext cx="1401205" cy="438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sosceles Triangle 3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8105842" y="6468150"/>
            <a:ext cx="276116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dirty="0">
                <a:solidFill>
                  <a:srgbClr val="998F86"/>
                </a:solidFill>
              </a:rPr>
              <a:t>Bergrivier Municipality: 4th Generation IDP Suppor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1940181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  <p:sldLayoutId id="2147483676" r:id="rId16"/>
    <p:sldLayoutId id="2147483677" r:id="rId17"/>
    <p:sldLayoutId id="2147483678" r:id="rId18"/>
    <p:sldLayoutId id="2147483679" r:id="rId19"/>
    <p:sldLayoutId id="2147483680" r:id="rId20"/>
    <p:sldLayoutId id="2147483681" r:id="rId21"/>
    <p:sldLayoutId id="2147483682" r:id="rId22"/>
    <p:sldLayoutId id="2147483683" r:id="rId2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 userDrawn="1"/>
        </p:nvSpPr>
        <p:spPr>
          <a:xfrm>
            <a:off x="0" y="6629400"/>
            <a:ext cx="1499616" cy="228600"/>
          </a:xfrm>
          <a:prstGeom prst="rect">
            <a:avLst/>
          </a:prstGeom>
          <a:gradFill>
            <a:gsLst>
              <a:gs pos="0">
                <a:schemeClr val="accent1">
                  <a:lumMod val="15000"/>
                  <a:lumOff val="85000"/>
                </a:schemeClr>
              </a:gs>
              <a:gs pos="100000">
                <a:schemeClr val="accent1">
                  <a:lumMod val="15000"/>
                  <a:lumOff val="8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prstClr val="white"/>
              </a:solidFill>
            </a:endParaRPr>
          </a:p>
        </p:txBody>
      </p:sp>
      <p:sp>
        <p:nvSpPr>
          <p:cNvPr id="11" name="Rectangle 10"/>
          <p:cNvSpPr/>
          <p:nvPr/>
        </p:nvSpPr>
        <p:spPr>
          <a:xfrm>
            <a:off x="1609344" y="6629400"/>
            <a:ext cx="10582656" cy="228600"/>
          </a:xfrm>
          <a:prstGeom prst="rect">
            <a:avLst/>
          </a:prstGeom>
          <a:gradFill>
            <a:gsLst>
              <a:gs pos="0">
                <a:schemeClr val="accent1">
                  <a:lumMod val="35000"/>
                  <a:lumOff val="65000"/>
                </a:schemeClr>
              </a:gs>
              <a:gs pos="100000">
                <a:schemeClr val="accent1">
                  <a:lumMod val="35000"/>
                  <a:lumOff val="65000"/>
                </a:schemeClr>
              </a:gs>
            </a:gsLst>
            <a:lin ang="5400000" scaled="1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>
              <a:solidFill>
                <a:srgbClr val="8BAA00">
                  <a:lumMod val="75000"/>
                </a:srgbClr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410026" y="276087"/>
            <a:ext cx="9371949" cy="1183566"/>
          </a:xfrm>
          <a:prstGeom prst="rect">
            <a:avLst/>
          </a:prstGeom>
        </p:spPr>
        <p:txBody>
          <a:bodyPr vert="horz" lIns="91440" tIns="45720" rIns="91440" bIns="45720" rtlCol="0" anchor="b">
            <a:normAutofit/>
          </a:bodyPr>
          <a:lstStyle/>
          <a:p>
            <a:r>
              <a:rPr lang="en-US"/>
              <a:t>Click to edit Master title style</a:t>
            </a:r>
            <a:endParaRPr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410027" y="1566001"/>
            <a:ext cx="9371948" cy="462068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E</a:t>
            </a:r>
            <a:r>
              <a:rPr dirty="0"/>
              <a:t>dit Master text styles</a:t>
            </a:r>
          </a:p>
          <a:p>
            <a:pPr lvl="1"/>
            <a:r>
              <a:rPr dirty="0"/>
              <a:t>Second level</a:t>
            </a:r>
          </a:p>
          <a:p>
            <a:pPr lvl="2"/>
            <a:r>
              <a:rPr dirty="0"/>
              <a:t>Third level</a:t>
            </a:r>
          </a:p>
          <a:p>
            <a:pPr lvl="3"/>
            <a:r>
              <a:rPr dirty="0"/>
              <a:t>Fourth level</a:t>
            </a:r>
          </a:p>
          <a:p>
            <a:pPr lvl="4"/>
            <a:r>
              <a:rPr dirty="0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0" y="6629400"/>
            <a:ext cx="410402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CD8D479-8942-46E8-A226-A4E01F7A105C}" type="slidenum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‹#›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3403" y="6629400"/>
            <a:ext cx="1000662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fld id="{9F04751E-ADD3-4E17-8C46-57CF87DB4D1C}" type="datetime1">
              <a:rPr lang="en-US" smtClean="0">
                <a:solidFill>
                  <a:srgbClr val="8BAA00">
                    <a:lumMod val="50000"/>
                  </a:srgbClr>
                </a:solidFill>
              </a:rPr>
              <a:pPr/>
              <a:t>4/12/2022</a:t>
            </a:fld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637716" y="6629400"/>
            <a:ext cx="9144259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100">
                <a:solidFill>
                  <a:schemeClr val="accent1">
                    <a:lumMod val="50000"/>
                  </a:schemeClr>
                </a:solidFill>
              </a:defRPr>
            </a:lvl1pPr>
          </a:lstStyle>
          <a:p>
            <a:r>
              <a:rPr lang="en-US">
                <a:solidFill>
                  <a:srgbClr val="8BAA00">
                    <a:lumMod val="50000"/>
                  </a:srgbClr>
                </a:solidFill>
              </a:rPr>
              <a:t>Creating Hope Africa</a:t>
            </a:r>
            <a:endParaRPr lang="en-US" dirty="0">
              <a:solidFill>
                <a:srgbClr val="8BAA00">
                  <a:lumMod val="50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985653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/>
  <p:txStyles>
    <p:titleStyle>
      <a:lvl1pPr algn="l" defTabSz="914400" rtl="0" eaLnBrk="1" latinLnBrk="0" hangingPunct="1">
        <a:spcBef>
          <a:spcPct val="0"/>
        </a:spcBef>
        <a:buNone/>
        <a:defRPr sz="3400" kern="1200">
          <a:solidFill>
            <a:schemeClr val="accent1">
              <a:lumMod val="75000"/>
            </a:schemeClr>
          </a:solidFill>
          <a:latin typeface="+mj-lt"/>
          <a:ea typeface="+mj-ea"/>
          <a:cs typeface="+mj-cs"/>
        </a:defRPr>
      </a:lvl1pPr>
    </p:titleStyle>
    <p:bodyStyle>
      <a:lvl1pPr marL="210312" indent="-210312" algn="l" defTabSz="914400" rtl="0" eaLnBrk="1" latinLnBrk="0" hangingPunct="1">
        <a:lnSpc>
          <a:spcPct val="90000"/>
        </a:lnSpc>
        <a:spcBef>
          <a:spcPts val="1100"/>
        </a:spcBef>
        <a:buFont typeface="Arial" panose="020B0604020202020204" pitchFamily="34" charset="0"/>
        <a:buChar char="•"/>
        <a:defRPr sz="2200" kern="1200">
          <a:solidFill>
            <a:schemeClr val="tx1"/>
          </a:solidFill>
          <a:latin typeface="+mn-lt"/>
          <a:ea typeface="+mn-ea"/>
          <a:cs typeface="+mn-cs"/>
        </a:defRPr>
      </a:lvl1pPr>
      <a:lvl2pPr marL="438912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6766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9052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338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13624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15910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18196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2048256" indent="-155448" algn="l" defTabSz="914400" rtl="0" eaLnBrk="1" latinLnBrk="0" hangingPunct="1">
        <a:lnSpc>
          <a:spcPct val="90000"/>
        </a:lnSpc>
        <a:spcBef>
          <a:spcPts val="4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7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623392" y="180976"/>
            <a:ext cx="10945216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623392" y="1196752"/>
            <a:ext cx="10945216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pic>
        <p:nvPicPr>
          <p:cNvPr id="12" name="Picture 115" descr="C:\Users\Conny\Desktop\WCG\WCG - Logo\PNG\Logos blue\Evironmental Affairs and Development Planning\WCG - Logo - Environmental Affairs and Development Planning - Blue.png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05" y="6260385"/>
            <a:ext cx="1401205" cy="438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sosceles Triangle 3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8105842" y="6468150"/>
            <a:ext cx="276116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dirty="0">
                <a:solidFill>
                  <a:srgbClr val="998F86"/>
                </a:solidFill>
              </a:rPr>
              <a:t>Bergrivier Municipality: 4th Generation IDP Suppor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4003148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699" r:id="rId2"/>
    <p:sldLayoutId id="2147483700" r:id="rId3"/>
    <p:sldLayoutId id="2147483701" r:id="rId4"/>
    <p:sldLayoutId id="2147483702" r:id="rId5"/>
    <p:sldLayoutId id="2147483703" r:id="rId6"/>
    <p:sldLayoutId id="2147483704" r:id="rId7"/>
    <p:sldLayoutId id="2147483705" r:id="rId8"/>
    <p:sldLayoutId id="2147483706" r:id="rId9"/>
    <p:sldLayoutId id="2147483707" r:id="rId10"/>
    <p:sldLayoutId id="2147483708" r:id="rId11"/>
    <p:sldLayoutId id="2147483709" r:id="rId12"/>
    <p:sldLayoutId id="2147483710" r:id="rId13"/>
    <p:sldLayoutId id="2147483711" r:id="rId14"/>
    <p:sldLayoutId id="2147483712" r:id="rId15"/>
    <p:sldLayoutId id="2147483713" r:id="rId16"/>
    <p:sldLayoutId id="2147483714" r:id="rId17"/>
    <p:sldLayoutId id="2147483715" r:id="rId18"/>
    <p:sldLayoutId id="2147483716" r:id="rId19"/>
    <p:sldLayoutId id="2147483717" r:id="rId20"/>
    <p:sldLayoutId id="2147483718" r:id="rId21"/>
    <p:sldLayoutId id="2147483719" r:id="rId22"/>
    <p:sldLayoutId id="2147483720" r:id="rId23"/>
  </p:sldLayoutIdLst>
  <p:hf sldNum="0" hdr="0" ftr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7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1" name="think-cell Slide" r:id="rId33" imgW="270" imgH="270" progId="TCLayout.ActiveDocument.1">
                  <p:embed/>
                </p:oleObj>
              </mc:Choice>
              <mc:Fallback>
                <p:oleObj name="think-cell Slide" r:id="rId33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8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9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30"/>
            </p:custDataLst>
          </p:nvPr>
        </p:nvSpPr>
        <p:spPr>
          <a:xfrm>
            <a:off x="11170773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003399"/>
                </a:solidFill>
              </a:rPr>
              <a:pPr/>
              <a:t>‹#›</a:t>
            </a:fld>
            <a:endParaRPr lang="en-ZA" dirty="0">
              <a:solidFill>
                <a:srgbClr val="003399"/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  <p:custDataLst>
              <p:tags r:id="rId31"/>
            </p:custDataLst>
          </p:nvPr>
        </p:nvSpPr>
        <p:spPr>
          <a:xfrm>
            <a:off x="5390774" y="6468150"/>
            <a:ext cx="551809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lvl1pPr algn="l">
              <a:defRPr sz="800">
                <a:solidFill>
                  <a:schemeClr val="accent3"/>
                </a:solidFill>
              </a:defRPr>
            </a:lvl1pPr>
          </a:lstStyle>
          <a:p>
            <a:r>
              <a:rPr lang="en-ZA">
                <a:solidFill>
                  <a:srgbClr val="998F86"/>
                </a:solidFill>
              </a:rPr>
              <a:t>Premier's Coordinating Forum</a:t>
            </a:r>
            <a:endParaRPr lang="en-GB" dirty="0">
              <a:solidFill>
                <a:srgbClr val="998F86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2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998F86"/>
                </a:solidFill>
              </a:rPr>
              <a:t>© Western Cape Government 2012  |</a:t>
            </a:r>
            <a:endParaRPr lang="en-GB" sz="800" dirty="0">
              <a:solidFill>
                <a:srgbClr val="998F86"/>
              </a:solidFill>
            </a:endParaRPr>
          </a:p>
        </p:txBody>
      </p:sp>
      <p:pic>
        <p:nvPicPr>
          <p:cNvPr id="11" name="Picture 115"/>
          <p:cNvPicPr>
            <a:picLocks noChangeAspect="1" noChangeArrowheads="1"/>
          </p:cNvPicPr>
          <p:nvPr userDrawn="1"/>
        </p:nvPicPr>
        <p:blipFill>
          <a:blip r:embed="rId3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239349" y="6149079"/>
            <a:ext cx="1285816" cy="41318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2" name="Right Triangle 11"/>
          <p:cNvSpPr/>
          <p:nvPr userDrawn="1"/>
        </p:nvSpPr>
        <p:spPr>
          <a:xfrm flipH="1">
            <a:off x="393694" y="836712"/>
            <a:ext cx="11798300" cy="144016"/>
          </a:xfrm>
          <a:prstGeom prst="rtTriangle">
            <a:avLst/>
          </a:prstGeom>
          <a:solidFill>
            <a:srgbClr val="00329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 err="1">
              <a:solidFill>
                <a:prstClr val="white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92282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6" r:id="rId5"/>
    <p:sldLayoutId id="2147483727" r:id="rId6"/>
    <p:sldLayoutId id="2147483728" r:id="rId7"/>
    <p:sldLayoutId id="2147483729" r:id="rId8"/>
    <p:sldLayoutId id="2147483730" r:id="rId9"/>
    <p:sldLayoutId id="2147483731" r:id="rId10"/>
    <p:sldLayoutId id="2147483732" r:id="rId11"/>
    <p:sldLayoutId id="2147483733" r:id="rId12"/>
    <p:sldLayoutId id="2147483734" r:id="rId13"/>
    <p:sldLayoutId id="2147483735" r:id="rId14"/>
    <p:sldLayoutId id="2147483736" r:id="rId15"/>
    <p:sldLayoutId id="2147483737" r:id="rId16"/>
    <p:sldLayoutId id="2147483738" r:id="rId17"/>
    <p:sldLayoutId id="2147483739" r:id="rId18"/>
    <p:sldLayoutId id="2147483740" r:id="rId19"/>
    <p:sldLayoutId id="2147483741" r:id="rId20"/>
    <p:sldLayoutId id="2147483742" r:id="rId21"/>
    <p:sldLayoutId id="2147483743" r:id="rId22"/>
    <p:sldLayoutId id="2147483744" r:id="rId23"/>
    <p:sldLayoutId id="2147483745" r:id="rId24"/>
  </p:sldLayoutIdLst>
  <p:hf hd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6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gradFill flip="none" rotWithShape="1">
          <a:gsLst>
            <a:gs pos="50000">
              <a:schemeClr val="bg1">
                <a:tint val="80000"/>
                <a:satMod val="250000"/>
              </a:schemeClr>
            </a:gs>
            <a:gs pos="76000">
              <a:schemeClr val="bg1">
                <a:tint val="90000"/>
                <a:shade val="90000"/>
                <a:satMod val="200000"/>
              </a:schemeClr>
            </a:gs>
            <a:gs pos="92000">
              <a:schemeClr val="bg1">
                <a:tint val="90000"/>
                <a:shade val="70000"/>
                <a:satMod val="250000"/>
              </a:schemeClr>
            </a:gs>
          </a:gsLst>
          <a:path path="circle">
            <a:fillToRect l="50000" t="50000" r="50000" b="50000"/>
          </a:path>
          <a:tileRect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6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5" name="think-cell Slide" r:id="rId31" imgW="270" imgH="270" progId="TCLayout.ActiveDocument.1">
                  <p:embed/>
                </p:oleObj>
              </mc:Choice>
              <mc:Fallback>
                <p:oleObj name="think-cell Slide" r:id="rId31" imgW="270" imgH="270" progId="TCLayout.ActiveDocument.1">
                  <p:embed/>
                  <p:pic>
                    <p:nvPicPr>
                      <p:cNvPr id="10" name="Object 9" hidden="1"/>
                      <p:cNvPicPr/>
                      <p:nvPr/>
                    </p:nvPicPr>
                    <p:blipFill>
                      <a:blip r:embed="rId32"/>
                      <a:stretch>
                        <a:fillRect/>
                      </a:stretch>
                    </p:blipFill>
                    <p:spPr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27"/>
            </p:custDataLst>
          </p:nvPr>
        </p:nvSpPr>
        <p:spPr>
          <a:xfrm>
            <a:off x="623392" y="180976"/>
            <a:ext cx="10945216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28"/>
            </p:custDataLst>
          </p:nvPr>
        </p:nvSpPr>
        <p:spPr>
          <a:xfrm>
            <a:off x="623392" y="1196752"/>
            <a:ext cx="10945216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  <p:custDataLst>
              <p:tags r:id="rId29"/>
            </p:custDataLst>
          </p:nvPr>
        </p:nvSpPr>
        <p:spPr>
          <a:xfrm>
            <a:off x="10882741" y="6468150"/>
            <a:ext cx="685867" cy="230832"/>
          </a:xfrm>
          <a:prstGeom prst="rect">
            <a:avLst/>
          </a:prstGeom>
        </p:spPr>
        <p:txBody>
          <a:bodyPr vert="horz" lIns="72000" tIns="72000" rIns="0" bIns="0" rtlCol="0" anchor="ctr"/>
          <a:lstStyle>
            <a:lvl1pPr algn="r">
              <a:defRPr sz="900">
                <a:solidFill>
                  <a:schemeClr val="tx2"/>
                </a:solidFill>
                <a:latin typeface="Century Gothic" pitchFamily="34" charset="0"/>
              </a:defRPr>
            </a:lvl1pPr>
          </a:lstStyle>
          <a:p>
            <a:fld id="{8406839F-D7A4-4E5D-B93D-768AD4D1DB36}" type="slidenum">
              <a:rPr lang="en-ZA" smtClean="0">
                <a:solidFill>
                  <a:srgbClr val="335B74"/>
                </a:solidFill>
              </a:rPr>
              <a:pPr/>
              <a:t>‹#›</a:t>
            </a:fld>
            <a:endParaRPr lang="en-ZA" dirty="0">
              <a:solidFill>
                <a:srgbClr val="335B74"/>
              </a:solidFill>
            </a:endParaRPr>
          </a:p>
        </p:txBody>
      </p:sp>
      <p:sp>
        <p:nvSpPr>
          <p:cNvPr id="7" name="Rectangle 6"/>
          <p:cNvSpPr>
            <a:spLocks/>
          </p:cNvSpPr>
          <p:nvPr>
            <p:custDataLst>
              <p:tags r:id="rId30"/>
            </p:custDataLst>
          </p:nvPr>
        </p:nvSpPr>
        <p:spPr>
          <a:xfrm>
            <a:off x="2747964" y="6468150"/>
            <a:ext cx="2592288" cy="230832"/>
          </a:xfrm>
          <a:prstGeom prst="rect">
            <a:avLst/>
          </a:prstGeom>
        </p:spPr>
        <p:txBody>
          <a:bodyPr vert="horz" lIns="72000" tIns="72000" rIns="0" bIns="0" rtlCol="0" anchor="b"/>
          <a:lstStyle/>
          <a:p>
            <a:r>
              <a:rPr lang="en-US" sz="800" dirty="0">
                <a:solidFill>
                  <a:srgbClr val="27CED7"/>
                </a:solidFill>
              </a:rPr>
              <a:t>© Western Cape Government 2012  |</a:t>
            </a:r>
            <a:endParaRPr lang="en-GB" sz="800" dirty="0">
              <a:solidFill>
                <a:srgbClr val="27CED7"/>
              </a:solidFill>
            </a:endParaRPr>
          </a:p>
        </p:txBody>
      </p:sp>
      <p:pic>
        <p:nvPicPr>
          <p:cNvPr id="12" name="Picture 115" descr="C:\Users\Conny\Desktop\WCG\WCG - Logo\PNG\Logos blue\Evironmental Affairs and Development Planning\WCG - Logo - Environmental Affairs and Development Planning - Blue.png"/>
          <p:cNvPicPr>
            <a:picLocks noChangeAspect="1" noChangeArrowheads="1"/>
          </p:cNvPicPr>
          <p:nvPr userDrawn="1"/>
        </p:nvPicPr>
        <p:blipFill>
          <a:blip r:embed="rId3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19505" y="6260385"/>
            <a:ext cx="1401205" cy="43859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Isosceles Triangle 3"/>
          <p:cNvSpPr/>
          <p:nvPr userDrawn="1"/>
        </p:nvSpPr>
        <p:spPr>
          <a:xfrm rot="16200000">
            <a:off x="6248578" y="-4883360"/>
            <a:ext cx="114551" cy="11772292"/>
          </a:xfrm>
          <a:prstGeom prst="triangle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ZA" sz="1200" dirty="0">
              <a:solidFill>
                <a:prstClr val="white"/>
              </a:solidFill>
            </a:endParaRPr>
          </a:p>
        </p:txBody>
      </p:sp>
      <p:sp>
        <p:nvSpPr>
          <p:cNvPr id="11" name="Footer Placeholder 4"/>
          <p:cNvSpPr txBox="1">
            <a:spLocks/>
          </p:cNvSpPr>
          <p:nvPr userDrawn="1"/>
        </p:nvSpPr>
        <p:spPr>
          <a:xfrm>
            <a:off x="8105842" y="6468150"/>
            <a:ext cx="2761167" cy="230832"/>
          </a:xfrm>
          <a:prstGeom prst="rect">
            <a:avLst/>
          </a:prstGeom>
        </p:spPr>
        <p:txBody>
          <a:bodyPr vert="horz" lIns="0" tIns="72000" rIns="72000" bIns="0" rtlCol="0" anchor="b"/>
          <a:lstStyle>
            <a:defPPr>
              <a:defRPr lang="en-US"/>
            </a:defPPr>
            <a:lvl1pPr marL="0" algn="l" defTabSz="914400" rtl="0" eaLnBrk="1" latinLnBrk="0" hangingPunct="1">
              <a:defRPr sz="800" kern="1200">
                <a:solidFill>
                  <a:schemeClr val="accent3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ZA" dirty="0">
                <a:solidFill>
                  <a:srgbClr val="998F86"/>
                </a:solidFill>
              </a:rPr>
              <a:t>Bergrivier Municipality: 4th Generation IDP Support</a:t>
            </a:r>
            <a:endParaRPr lang="en-GB" dirty="0">
              <a:solidFill>
                <a:srgbClr val="998F86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171635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7" r:id="rId1"/>
    <p:sldLayoutId id="2147483748" r:id="rId2"/>
    <p:sldLayoutId id="2147483749" r:id="rId3"/>
    <p:sldLayoutId id="2147483750" r:id="rId4"/>
    <p:sldLayoutId id="2147483751" r:id="rId5"/>
    <p:sldLayoutId id="2147483752" r:id="rId6"/>
    <p:sldLayoutId id="2147483753" r:id="rId7"/>
    <p:sldLayoutId id="2147483754" r:id="rId8"/>
    <p:sldLayoutId id="2147483755" r:id="rId9"/>
    <p:sldLayoutId id="2147483756" r:id="rId10"/>
    <p:sldLayoutId id="2147483757" r:id="rId11"/>
    <p:sldLayoutId id="2147483758" r:id="rId12"/>
    <p:sldLayoutId id="2147483759" r:id="rId13"/>
    <p:sldLayoutId id="2147483760" r:id="rId14"/>
    <p:sldLayoutId id="2147483761" r:id="rId15"/>
    <p:sldLayoutId id="2147483762" r:id="rId16"/>
    <p:sldLayoutId id="2147483763" r:id="rId17"/>
    <p:sldLayoutId id="2147483764" r:id="rId18"/>
    <p:sldLayoutId id="2147483765" r:id="rId19"/>
    <p:sldLayoutId id="2147483766" r:id="rId20"/>
    <p:sldLayoutId id="2147483767" r:id="rId21"/>
    <p:sldLayoutId id="2147483768" r:id="rId22"/>
    <p:sldLayoutId id="2147483769" r:id="rId23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4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1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0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10" Type="http://schemas.microsoft.com/office/2007/relationships/hdphoto" Target="../media/hdphoto1.wdp"/><Relationship Id="rId4" Type="http://schemas.openxmlformats.org/officeDocument/2006/relationships/image" Target="../media/image16.jpg"/><Relationship Id="rId9" Type="http://schemas.openxmlformats.org/officeDocument/2006/relationships/image" Target="../media/image21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9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0.xml"/><Relationship Id="rId4" Type="http://schemas.openxmlformats.org/officeDocument/2006/relationships/chart" Target="../charts/chart3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1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2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3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4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5.xml"/><Relationship Id="rId4" Type="http://schemas.openxmlformats.org/officeDocument/2006/relationships/image" Target="../media/image23.emf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6.xml"/><Relationship Id="rId4" Type="http://schemas.openxmlformats.org/officeDocument/2006/relationships/image" Target="../media/image24.emf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7.xml"/><Relationship Id="rId4" Type="http://schemas.openxmlformats.org/officeDocument/2006/relationships/image" Target="../media/image25.emf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19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198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Relationship Id="rId9" Type="http://schemas.openxmlformats.org/officeDocument/2006/relationships/image" Target="../media/image22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1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10" Type="http://schemas.microsoft.com/office/2007/relationships/hdphoto" Target="../media/hdphoto1.wdp"/><Relationship Id="rId4" Type="http://schemas.openxmlformats.org/officeDocument/2006/relationships/image" Target="../media/image16.jpg"/><Relationship Id="rId9" Type="http://schemas.openxmlformats.org/officeDocument/2006/relationships/image" Target="../media/image21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0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99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0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2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1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2.xml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4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3.xml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04.xml"/><Relationship Id="rId4" Type="http://schemas.openxmlformats.org/officeDocument/2006/relationships/image" Target="../media/image26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png"/><Relationship Id="rId2" Type="http://schemas.openxmlformats.org/officeDocument/2006/relationships/hyperlink" Target="mailto:sb@bergmun.org.za" TargetMode="External"/><Relationship Id="rId1" Type="http://schemas.openxmlformats.org/officeDocument/2006/relationships/slideLayout" Target="../slideLayouts/slideLayout26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83.xml"/><Relationship Id="rId1" Type="http://schemas.openxmlformats.org/officeDocument/2006/relationships/tags" Target="../tags/tag182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Relationship Id="rId9" Type="http://schemas.openxmlformats.org/officeDocument/2006/relationships/image" Target="../media/image22.emf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0.jpg"/><Relationship Id="rId3" Type="http://schemas.openxmlformats.org/officeDocument/2006/relationships/notesSlide" Target="../notesSlides/notesSlide4.xml"/><Relationship Id="rId7" Type="http://schemas.openxmlformats.org/officeDocument/2006/relationships/image" Target="../media/image19.jp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3.xml"/><Relationship Id="rId6" Type="http://schemas.openxmlformats.org/officeDocument/2006/relationships/image" Target="../media/image18.jpg"/><Relationship Id="rId5" Type="http://schemas.openxmlformats.org/officeDocument/2006/relationships/image" Target="../media/image17.jpg"/><Relationship Id="rId4" Type="http://schemas.openxmlformats.org/officeDocument/2006/relationships/image" Target="../media/image16.jp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5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4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5.xml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7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8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7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9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188.xml"/><Relationship Id="rId4" Type="http://schemas.openxmlformats.org/officeDocument/2006/relationships/chart" Target="../charts/char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322887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85969" y="5322888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91100" y="5325901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132637" y="5326063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4" y="5326063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0" y="-245131"/>
            <a:ext cx="11953328" cy="489455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BERGRIVIER MUNISIPALITEIT</a:t>
            </a:r>
          </a:p>
          <a:p>
            <a:pPr algn="ctr"/>
            <a:r>
              <a:rPr lang="en-GB" sz="3600" b="1" dirty="0">
                <a:solidFill>
                  <a:prstClr val="white"/>
                </a:solidFill>
              </a:rPr>
              <a:t>UITVOERENDE BURGEMEESTERSKOMITEE</a:t>
            </a:r>
          </a:p>
          <a:p>
            <a:pPr algn="ctr"/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PIKETBERG – WYK 4 (</a:t>
            </a:r>
            <a:r>
              <a:rPr lang="en-GB" sz="3600" b="1" dirty="0">
                <a:solidFill>
                  <a:prstClr val="white"/>
                </a:solidFill>
              </a:rPr>
              <a:t>12 APRIL 2022)</a:t>
            </a:r>
          </a:p>
          <a:p>
            <a:pPr marL="1028700" lvl="1" indent="-571500" algn="l">
              <a:buFont typeface="Arial" panose="020B0604020202020204" pitchFamily="34" charset="0"/>
              <a:buChar char="•"/>
            </a:pPr>
            <a:endParaRPr lang="en-GB" sz="4000" b="1" dirty="0">
              <a:solidFill>
                <a:prstClr val="white"/>
              </a:solidFill>
            </a:endParaRPr>
          </a:p>
          <a:p>
            <a:pPr algn="ctr"/>
            <a:endParaRPr lang="en-GB" sz="3600" b="1" dirty="0">
              <a:solidFill>
                <a:prstClr val="white"/>
              </a:solidFill>
            </a:endParaRPr>
          </a:p>
          <a:p>
            <a:pPr algn="ctr"/>
            <a:endParaRPr lang="en-GB" sz="3600" b="1" dirty="0">
              <a:solidFill>
                <a:prstClr val="white"/>
              </a:solidFill>
            </a:endParaRPr>
          </a:p>
          <a:p>
            <a:pPr algn="ctr"/>
            <a:endParaRPr lang="en-ZA" sz="3600" b="1" dirty="0">
              <a:solidFill>
                <a:prstClr val="white"/>
              </a:solidFill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08" b="100000" l="0" r="100000">
                        <a14:foregroundMark x1="48502" y1="27494" x2="48502" y2="27494"/>
                        <a14:foregroundMark x1="55920" y1="25172" x2="55920" y2="25172"/>
                        <a14:foregroundMark x1="50689" y1="17156" x2="50689" y2="17156"/>
                        <a14:foregroundMark x1="44983" y1="34168" x2="44983" y2="34168"/>
                        <a14:foregroundMark x1="46315" y1="44505" x2="46315" y2="44505"/>
                        <a14:foregroundMark x1="49786" y1="45847" x2="49786" y2="45847"/>
                        <a14:foregroundMark x1="32335" y1="53500" x2="32335" y2="53500"/>
                        <a14:foregroundMark x1="66381" y1="50490" x2="66381" y2="50490"/>
                        <a14:foregroundMark x1="78650" y1="79507" x2="78650" y2="79507"/>
                        <a14:foregroundMark x1="72515" y1="89518" x2="71232" y2="89844"/>
                        <a14:foregroundMark x1="46315" y1="93834" x2="46315" y2="93834"/>
                        <a14:foregroundMark x1="30147" y1="90497" x2="30147" y2="90497"/>
                        <a14:foregroundMark x1="22254" y1="80486" x2="22254" y2="80486"/>
                        <a14:foregroundMark x1="6990" y1="63838" x2="6990" y2="63838"/>
                        <a14:foregroundMark x1="20067" y1="80160" x2="20067" y2="80160"/>
                        <a14:foregroundMark x1="6990" y1="41821" x2="6990" y2="41821"/>
                        <a14:foregroundMark x1="92630" y1="42184" x2="92630" y2="42184"/>
                        <a14:foregroundMark x1="91774" y1="63838" x2="91774" y2="63838"/>
                        <a14:foregroundMark x1="83452" y1="83497" x2="83452" y2="83497"/>
                        <a14:foregroundMark x1="19211" y1="85165" x2="19211" y2="85165"/>
                        <a14:foregroundMark x1="55920" y1="34820" x2="55920" y2="348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146" y="170328"/>
            <a:ext cx="1295854" cy="1694331"/>
          </a:xfrm>
          <a:prstGeom prst="rect">
            <a:avLst/>
          </a:prstGeom>
        </p:spPr>
      </p:pic>
      <p:graphicFrame>
        <p:nvGraphicFramePr>
          <p:cNvPr id="2" name="Table 3">
            <a:extLst>
              <a:ext uri="{FF2B5EF4-FFF2-40B4-BE49-F238E27FC236}">
                <a16:creationId xmlns:a16="http://schemas.microsoft.com/office/drawing/2014/main" id="{096F5E46-A401-44F0-A9D1-DB68B870572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99143241"/>
              </p:ext>
            </p:extLst>
          </p:nvPr>
        </p:nvGraphicFramePr>
        <p:xfrm>
          <a:off x="79710" y="1934903"/>
          <a:ext cx="12032580" cy="328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549738">
                  <a:extLst>
                    <a:ext uri="{9D8B030D-6E8A-4147-A177-3AD203B41FA5}">
                      <a16:colId xmlns:a16="http://schemas.microsoft.com/office/drawing/2014/main" val="3334421973"/>
                    </a:ext>
                  </a:extLst>
                </a:gridCol>
                <a:gridCol w="5482842">
                  <a:extLst>
                    <a:ext uri="{9D8B030D-6E8A-4147-A177-3AD203B41FA5}">
                      <a16:colId xmlns:a16="http://schemas.microsoft.com/office/drawing/2014/main" val="1884863913"/>
                    </a:ext>
                  </a:extLst>
                </a:gridCol>
              </a:tblGrid>
              <a:tr h="492264">
                <a:tc>
                  <a:txBody>
                    <a:bodyPr/>
                    <a:lstStyle/>
                    <a:p>
                      <a:r>
                        <a:rPr lang="en-ZA" sz="2400" b="0" dirty="0">
                          <a:solidFill>
                            <a:schemeClr val="tx1"/>
                          </a:solidFill>
                        </a:rPr>
                        <a:t>Opening </a:t>
                      </a:r>
                      <a:r>
                        <a:rPr lang="en-ZA" sz="2400" b="0" dirty="0" err="1">
                          <a:solidFill>
                            <a:schemeClr val="tx1"/>
                          </a:solidFill>
                        </a:rPr>
                        <a:t>en</a:t>
                      </a:r>
                      <a:r>
                        <a:rPr lang="en-ZA" sz="2400" b="0" dirty="0">
                          <a:solidFill>
                            <a:schemeClr val="tx1"/>
                          </a:solidFill>
                        </a:rPr>
                        <a:t> </a:t>
                      </a:r>
                      <a:r>
                        <a:rPr lang="en-ZA" sz="2400" b="0" dirty="0" err="1">
                          <a:solidFill>
                            <a:schemeClr val="tx1"/>
                          </a:solidFill>
                        </a:rPr>
                        <a:t>Verwelkoming</a:t>
                      </a:r>
                      <a:endParaRPr lang="en-ZA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b="0" dirty="0" err="1">
                          <a:solidFill>
                            <a:schemeClr val="tx1"/>
                          </a:solidFill>
                        </a:rPr>
                        <a:t>Wyksraadslid</a:t>
                      </a:r>
                      <a:endParaRPr lang="en-ZA" sz="2400" b="0" dirty="0">
                        <a:solidFill>
                          <a:schemeClr val="tx1"/>
                        </a:solidFill>
                      </a:endParaRPr>
                    </a:p>
                  </a:txBody>
                  <a:tcPr>
                    <a:solidFill>
                      <a:schemeClr val="accent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04514830"/>
                  </a:ext>
                </a:extLst>
              </a:tr>
              <a:tr h="768204">
                <a:tc>
                  <a:txBody>
                    <a:bodyPr/>
                    <a:lstStyle/>
                    <a:p>
                      <a:r>
                        <a:rPr lang="en-ZA" sz="2400" dirty="0" err="1"/>
                        <a:t>Bekendstelling</a:t>
                      </a:r>
                      <a:r>
                        <a:rPr lang="en-ZA" sz="2400" dirty="0"/>
                        <a:t>:  </a:t>
                      </a:r>
                      <a:r>
                        <a:rPr lang="en-ZA" sz="2400" dirty="0" err="1"/>
                        <a:t>Burgemeesterskomitee</a:t>
                      </a:r>
                      <a:r>
                        <a:rPr lang="en-ZA" sz="2400" dirty="0"/>
                        <a:t> &amp; </a:t>
                      </a:r>
                      <a:r>
                        <a:rPr lang="en-ZA" sz="2400" dirty="0" err="1"/>
                        <a:t>Direksie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/>
                        <a:t>Speaker </a:t>
                      </a:r>
                      <a:r>
                        <a:rPr lang="en-ZA" sz="2400" dirty="0" err="1"/>
                        <a:t>Raadsheer</a:t>
                      </a:r>
                      <a:r>
                        <a:rPr lang="en-ZA" sz="2400" dirty="0"/>
                        <a:t> Swa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6821462"/>
                  </a:ext>
                </a:extLst>
              </a:tr>
              <a:tr h="492264">
                <a:tc>
                  <a:txBody>
                    <a:bodyPr/>
                    <a:lstStyle/>
                    <a:p>
                      <a:r>
                        <a:rPr lang="en-ZA" sz="2400" dirty="0" err="1"/>
                        <a:t>Oorsig</a:t>
                      </a:r>
                      <a:r>
                        <a:rPr lang="en-ZA" sz="2400" dirty="0"/>
                        <a:t> van </a:t>
                      </a:r>
                      <a:r>
                        <a:rPr lang="en-ZA" sz="2400" dirty="0" err="1"/>
                        <a:t>Begroting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 err="1"/>
                        <a:t>Direkteur</a:t>
                      </a:r>
                      <a:r>
                        <a:rPr lang="en-ZA" sz="2400" dirty="0"/>
                        <a:t>: </a:t>
                      </a:r>
                      <a:r>
                        <a:rPr lang="en-ZA" sz="2400" dirty="0" err="1"/>
                        <a:t>Finansies</a:t>
                      </a:r>
                      <a:endParaRPr lang="en-ZA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70954528"/>
                  </a:ext>
                </a:extLst>
              </a:tr>
              <a:tr h="492264">
                <a:tc>
                  <a:txBody>
                    <a:bodyPr/>
                    <a:lstStyle/>
                    <a:p>
                      <a:r>
                        <a:rPr lang="en-ZA" sz="2400" dirty="0" err="1"/>
                        <a:t>Behoeftes</a:t>
                      </a:r>
                      <a:r>
                        <a:rPr lang="en-ZA" sz="2400" dirty="0"/>
                        <a:t> van Wyk 4 </a:t>
                      </a:r>
                      <a:r>
                        <a:rPr lang="en-ZA" sz="2400" dirty="0" err="1"/>
                        <a:t>uit</a:t>
                      </a:r>
                      <a:r>
                        <a:rPr lang="en-ZA" sz="2400" dirty="0"/>
                        <a:t> GOP (IDP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/>
                        <a:t>Munisipale </a:t>
                      </a:r>
                      <a:r>
                        <a:rPr lang="en-ZA" sz="2400" dirty="0" err="1"/>
                        <a:t>Bestuurder</a:t>
                      </a:r>
                      <a:endParaRPr lang="en-ZA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01479462"/>
                  </a:ext>
                </a:extLst>
              </a:tr>
              <a:tr h="492264">
                <a:tc>
                  <a:txBody>
                    <a:bodyPr/>
                    <a:lstStyle/>
                    <a:p>
                      <a:r>
                        <a:rPr lang="en-ZA" sz="2400" dirty="0" err="1"/>
                        <a:t>Vrae</a:t>
                      </a:r>
                      <a:r>
                        <a:rPr lang="en-ZA" sz="2400" dirty="0"/>
                        <a:t> </a:t>
                      </a:r>
                      <a:r>
                        <a:rPr lang="en-ZA" sz="2400" dirty="0" err="1"/>
                        <a:t>en</a:t>
                      </a:r>
                      <a:r>
                        <a:rPr lang="en-ZA" sz="2400" dirty="0"/>
                        <a:t> </a:t>
                      </a:r>
                      <a:r>
                        <a:rPr lang="en-ZA" sz="2400" dirty="0" err="1"/>
                        <a:t>insette</a:t>
                      </a:r>
                      <a:r>
                        <a:rPr lang="en-ZA" sz="2400" dirty="0"/>
                        <a:t> </a:t>
                      </a:r>
                      <a:r>
                        <a:rPr lang="en-ZA" sz="2400" dirty="0" err="1"/>
                        <a:t>deur</a:t>
                      </a:r>
                      <a:r>
                        <a:rPr lang="en-ZA" sz="2400" dirty="0"/>
                        <a:t> </a:t>
                      </a:r>
                      <a:r>
                        <a:rPr lang="en-ZA" sz="2400" dirty="0" err="1"/>
                        <a:t>publiek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/>
                        <a:t>Speaker </a:t>
                      </a:r>
                      <a:r>
                        <a:rPr lang="en-ZA" sz="2400" dirty="0" err="1"/>
                        <a:t>Raadsheer</a:t>
                      </a:r>
                      <a:r>
                        <a:rPr lang="en-ZA" sz="2400" dirty="0"/>
                        <a:t> Swart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8350075"/>
                  </a:ext>
                </a:extLst>
              </a:tr>
              <a:tr h="492264">
                <a:tc>
                  <a:txBody>
                    <a:bodyPr/>
                    <a:lstStyle/>
                    <a:p>
                      <a:r>
                        <a:rPr lang="en-ZA" sz="2400" dirty="0" err="1"/>
                        <a:t>Afsluiting</a:t>
                      </a:r>
                      <a:endParaRPr lang="en-ZA" sz="24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2400" dirty="0" err="1"/>
                        <a:t>Burgemeester</a:t>
                      </a:r>
                      <a:r>
                        <a:rPr lang="en-ZA" sz="2400" dirty="0"/>
                        <a:t>/</a:t>
                      </a:r>
                      <a:r>
                        <a:rPr lang="en-ZA" sz="2400" dirty="0" err="1"/>
                        <a:t>Onderburgemeester</a:t>
                      </a:r>
                      <a:endParaRPr lang="en-ZA" sz="24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93441989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78754953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8662440-CCD5-4F30-AEFE-556DCBA57E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1649696"/>
              </p:ext>
            </p:extLst>
          </p:nvPr>
        </p:nvGraphicFramePr>
        <p:xfrm>
          <a:off x="526415" y="218435"/>
          <a:ext cx="11139170" cy="656952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042072">
                  <a:extLst>
                    <a:ext uri="{9D8B030D-6E8A-4147-A177-3AD203B41FA5}">
                      <a16:colId xmlns:a16="http://schemas.microsoft.com/office/drawing/2014/main" val="1288111138"/>
                    </a:ext>
                  </a:extLst>
                </a:gridCol>
                <a:gridCol w="3007828">
                  <a:extLst>
                    <a:ext uri="{9D8B030D-6E8A-4147-A177-3AD203B41FA5}">
                      <a16:colId xmlns:a16="http://schemas.microsoft.com/office/drawing/2014/main" val="2720098876"/>
                    </a:ext>
                  </a:extLst>
                </a:gridCol>
                <a:gridCol w="2089270">
                  <a:extLst>
                    <a:ext uri="{9D8B030D-6E8A-4147-A177-3AD203B41FA5}">
                      <a16:colId xmlns:a16="http://schemas.microsoft.com/office/drawing/2014/main" val="1885895160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3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EDRYFSBEGROTING: GROOTSTE UITGAWES:  </a:t>
                      </a:r>
                      <a:endParaRPr lang="en-ZA" sz="32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83996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erknemerkostes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6 242 551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481711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ootmaataankop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8 498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3039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unisipale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12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0679713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randstof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li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04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0818826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kontrakteerd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5 347 4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220899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er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itgawes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2 484 58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33368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sekeringskostes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296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696178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mmunikasi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elefoo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interne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241 5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436077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kstern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uditfooi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30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7262510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mmissi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501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23259451"/>
                  </a:ext>
                </a:extLst>
              </a:tr>
              <a:tr h="50400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oorsiening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leg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kuld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0 415 14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60047887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ardevermindering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al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 668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54958969"/>
                  </a:ext>
                </a:extLst>
              </a:tr>
              <a:tr h="43200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habilitasi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n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tortingsterrein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00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5793860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003079747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1935624E-D878-4CA6-A7A5-EEE14677104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405832232"/>
              </p:ext>
            </p:extLst>
          </p:nvPr>
        </p:nvGraphicFramePr>
        <p:xfrm>
          <a:off x="238672" y="652146"/>
          <a:ext cx="11714655" cy="597725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10" name="Title 4">
            <a:extLst>
              <a:ext uri="{FF2B5EF4-FFF2-40B4-BE49-F238E27FC236}">
                <a16:creationId xmlns:a16="http://schemas.microsoft.com/office/drawing/2014/main" id="{38702401-A8A1-4566-AD91-FAE7F37D13E0}"/>
              </a:ext>
            </a:extLst>
          </p:cNvPr>
          <p:cNvSpPr txBox="1">
            <a:spLocks/>
          </p:cNvSpPr>
          <p:nvPr/>
        </p:nvSpPr>
        <p:spPr>
          <a:xfrm>
            <a:off x="744279" y="136307"/>
            <a:ext cx="10430539" cy="437851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>
            <a:normAutofit fontScale="90000" lnSpcReduction="200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100" b="0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OTALE INKOMSTE R  494,861,665 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766717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8662440-CCD5-4F30-AEFE-556DCBA57E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63230687"/>
              </p:ext>
            </p:extLst>
          </p:nvPr>
        </p:nvGraphicFramePr>
        <p:xfrm>
          <a:off x="929005" y="198120"/>
          <a:ext cx="10333989" cy="646176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652844">
                  <a:extLst>
                    <a:ext uri="{9D8B030D-6E8A-4147-A177-3AD203B41FA5}">
                      <a16:colId xmlns:a16="http://schemas.microsoft.com/office/drawing/2014/main" val="1288111138"/>
                    </a:ext>
                  </a:extLst>
                </a:gridCol>
                <a:gridCol w="2172105">
                  <a:extLst>
                    <a:ext uri="{9D8B030D-6E8A-4147-A177-3AD203B41FA5}">
                      <a16:colId xmlns:a16="http://schemas.microsoft.com/office/drawing/2014/main" val="2720098876"/>
                    </a:ext>
                  </a:extLst>
                </a:gridCol>
                <a:gridCol w="1509040">
                  <a:extLst>
                    <a:ext uri="{9D8B030D-6E8A-4147-A177-3AD203B41FA5}">
                      <a16:colId xmlns:a16="http://schemas.microsoft.com/office/drawing/2014/main" val="1885895160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BEDRYFSBEGROTING: TOTALE INKOMSTE </a:t>
                      </a:r>
                      <a:r>
                        <a:rPr kumimoji="0" lang="en-ZA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 Light" panose="020F0302020204030204"/>
                          <a:ea typeface="+mn-ea"/>
                          <a:cs typeface="+mn-cs"/>
                        </a:rPr>
                        <a:t>: R  494,861,665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A3A70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83996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heffing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1 051 502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.5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79886971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iendomsbelast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3 674 997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8.9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8180234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ordrag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ubsidies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perasioneel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1 237 434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.4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25328437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heffing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wa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6 807 1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4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255945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heffing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ullisverwyder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2 447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.5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4200254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oete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esla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rysgaw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 286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.3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9017787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iensteheffing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oler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7 70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5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06288341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ordrag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ubsidies -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itaal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6 110 566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.2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01249404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nder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koms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4 02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.8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32112332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gentskapdiens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788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17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75210116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n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–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itstaand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biteur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 00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.01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61801580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uur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van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siliteite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erusting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674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34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42443923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Lisensies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4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ermitte</a:t>
                      </a:r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7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4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0.0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13822566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7080300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8662440-CCD5-4F30-AEFE-556DCBA57E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66025787"/>
              </p:ext>
            </p:extLst>
          </p:nvPr>
        </p:nvGraphicFramePr>
        <p:xfrm>
          <a:off x="1133475" y="180975"/>
          <a:ext cx="9639299" cy="6515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266756">
                  <a:extLst>
                    <a:ext uri="{9D8B030D-6E8A-4147-A177-3AD203B41FA5}">
                      <a16:colId xmlns:a16="http://schemas.microsoft.com/office/drawing/2014/main" val="1288111138"/>
                    </a:ext>
                  </a:extLst>
                </a:gridCol>
                <a:gridCol w="2372543">
                  <a:extLst>
                    <a:ext uri="{9D8B030D-6E8A-4147-A177-3AD203B41FA5}">
                      <a16:colId xmlns:a16="http://schemas.microsoft.com/office/drawing/2014/main" val="2720098876"/>
                    </a:ext>
                  </a:extLst>
                </a:gridCol>
              </a:tblGrid>
              <a:tr h="546009">
                <a:tc gridSpan="2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VOORGESTELDE TARIEFVERHOGINGS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>
                    <a:solidFill>
                      <a:srgbClr val="A3A709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839967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1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iendomsbelasting</a:t>
                      </a:r>
                      <a:endParaRPr lang="en-ZA" sz="2800" b="1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798869712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1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81802343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bruiksheffings</a:t>
                      </a:r>
                      <a:endParaRPr lang="en-ZA" sz="2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5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253284372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iese</a:t>
                      </a: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ffings</a:t>
                      </a:r>
                      <a:endParaRPr lang="en-ZA" sz="2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.5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262559454"/>
                  </a:ext>
                </a:extLst>
              </a:tr>
              <a:tr h="70111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ZA" sz="2800" b="1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42002542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bruiksheffings</a:t>
                      </a:r>
                      <a:endParaRPr lang="en-ZA" sz="2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8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709017787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iese</a:t>
                      </a: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Heffings</a:t>
                      </a:r>
                      <a:endParaRPr lang="en-ZA" sz="2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.8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3506288341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1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olering</a:t>
                      </a:r>
                      <a:endParaRPr lang="en-ZA" sz="2800" b="1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.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201249404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1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ullisverwydering</a:t>
                      </a:r>
                      <a:endParaRPr lang="en-ZA" sz="2800" b="1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5.0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1632112332"/>
                  </a:ext>
                </a:extLst>
              </a:tr>
              <a:tr h="5853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Diverse </a:t>
                      </a:r>
                      <a:r>
                        <a:rPr lang="en-ZA" sz="2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ariewe</a:t>
                      </a: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>
                        <a:lnSpc>
                          <a:spcPct val="15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n-ZA" sz="2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 7% – 10%</a:t>
                      </a:r>
                    </a:p>
                  </a:txBody>
                  <a:tcPr marL="0" marR="0" marT="0" marB="0" anchor="ctr"/>
                </a:tc>
                <a:extLst>
                  <a:ext uri="{0D108BD9-81ED-4DB2-BD59-A6C34878D82A}">
                    <a16:rowId xmlns:a16="http://schemas.microsoft.com/office/drawing/2014/main" val="475210116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0620195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F082B3C7-AE4E-4ABF-8C40-6CEF1F54F695}"/>
              </a:ext>
            </a:extLst>
          </p:cNvPr>
          <p:cNvSpPr txBox="1"/>
          <p:nvPr/>
        </p:nvSpPr>
        <p:spPr>
          <a:xfrm>
            <a:off x="238672" y="363915"/>
            <a:ext cx="11714656" cy="600164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32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EDES VIR TARIEFVERHOGINGS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erklik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enslewer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hoë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as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komst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u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ariew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gevorde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ig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hoging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oo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yden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“lockdown”, maar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het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groei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yvoorbeeld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randstof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lariss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aterial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derdel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seker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ormal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skalasi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iensleweringskontrakt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ullisverwyder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root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met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aanhoudend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ommelstrooi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onwettig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ort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al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nawek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kuriteit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eens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andalisme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tropi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nfrastruktuu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ens.  (R2.6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iljo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kstra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;</a:t>
            </a:r>
          </a:p>
          <a:p>
            <a:pPr marL="457200" indent="-457200">
              <a:buFont typeface="Arial" panose="020B0604020202020204" pitchFamily="34" charset="0"/>
              <a:buChar char="•"/>
            </a:pP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oestand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terinfrastruktuur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–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et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vang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ord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finansieringskostes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moet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ZA" sz="3200" dirty="0" err="1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haal</a:t>
            </a:r>
            <a:r>
              <a:rPr lang="en-ZA" sz="3200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ord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22560057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E8F7B616-1D71-4077-8DA7-B2356679A5A0}"/>
              </a:ext>
            </a:extLst>
          </p:cNvPr>
          <p:cNvSpPr txBox="1">
            <a:spLocks/>
          </p:cNvSpPr>
          <p:nvPr/>
        </p:nvSpPr>
        <p:spPr>
          <a:xfrm>
            <a:off x="-57700" y="814868"/>
            <a:ext cx="3810000" cy="1306099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DEERNISHULP 2022/2023</a:t>
            </a:r>
          </a:p>
        </p:txBody>
      </p:sp>
      <p:graphicFrame>
        <p:nvGraphicFramePr>
          <p:cNvPr id="9" name="Table 8">
            <a:extLst>
              <a:ext uri="{FF2B5EF4-FFF2-40B4-BE49-F238E27FC236}">
                <a16:creationId xmlns:a16="http://schemas.microsoft.com/office/drawing/2014/main" id="{E8EE6EF3-4F49-4E48-A130-DFD8F89ABB7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35580766"/>
              </p:ext>
            </p:extLst>
          </p:nvPr>
        </p:nvGraphicFramePr>
        <p:xfrm>
          <a:off x="3533776" y="99735"/>
          <a:ext cx="8477252" cy="3157814"/>
        </p:xfrm>
        <a:graphic>
          <a:graphicData uri="http://schemas.openxmlformats.org/drawingml/2006/table">
            <a:tbl>
              <a:tblPr/>
              <a:tblGrid>
                <a:gridCol w="577571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7015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04534">
                <a:tc gridSpan="2"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1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 MAAND</a:t>
                      </a:r>
                    </a:p>
                  </a:txBody>
                  <a:tcPr marL="0" marR="0" marT="0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ZA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26287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iendomsbelasting algemene vrystell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 15,000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verbruik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and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Kl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30453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 Basies per maand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ati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bruik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per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maand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50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wh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nl-NL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olering 100% korting op huishoudelike tarief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 208.00 (BTW Ing.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ullisverwydering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100%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rting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 319.70 (BTW Ing.)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489431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just" fontAlgn="auto"/>
                      <a:r>
                        <a:rPr lang="nl-NL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ernis huishouding op lewensondersteunende toerusting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0 Kwh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asiese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sheffing</a:t>
                      </a:r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ratis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8883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l" fontAlgn="b"/>
                      <a:r>
                        <a:rPr lang="en-ZA" sz="1800" b="0" i="0" u="none" strike="noStrike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iendomsbelasting Pensioenarisse</a:t>
                      </a: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algn="ctr" fontAlgn="b"/>
                      <a:r>
                        <a:rPr lang="en-ZA" sz="1800" b="0" i="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0% </a:t>
                      </a:r>
                      <a:r>
                        <a:rPr lang="en-ZA" sz="1800" b="0" i="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orting</a:t>
                      </a:r>
                      <a:endParaRPr lang="en-ZA" sz="1800" b="0" i="0" u="none" strike="noStrike" dirty="0"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0" marR="0" marT="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</a:tbl>
          </a:graphicData>
        </a:graphic>
      </p:graphicFrame>
      <p:sp>
        <p:nvSpPr>
          <p:cNvPr id="10" name="Rectangle 9">
            <a:extLst>
              <a:ext uri="{FF2B5EF4-FFF2-40B4-BE49-F238E27FC236}">
                <a16:creationId xmlns:a16="http://schemas.microsoft.com/office/drawing/2014/main" id="{BFB7BF6C-2077-4364-B40E-2194A7BADD8B}"/>
              </a:ext>
            </a:extLst>
          </p:cNvPr>
          <p:cNvSpPr/>
          <p:nvPr/>
        </p:nvSpPr>
        <p:spPr>
          <a:xfrm>
            <a:off x="57700" y="3295649"/>
            <a:ext cx="11953328" cy="3877985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wrap="square">
            <a:spAutoFit/>
          </a:bodyPr>
          <a:lstStyle/>
          <a:p>
            <a:pPr marL="0" marR="0" lvl="0" indent="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erni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subsidies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sioenariskortings</a:t>
            </a:r>
            <a:endParaRPr kumimoji="0" lang="en-ZA" sz="24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nig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enaa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ensioenari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liënt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at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walifisee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i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eerni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f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nde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orting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oet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nsoek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en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p 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orgeskrew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orm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at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kry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ord by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plaaslik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nisipal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tor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durend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antoorur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;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ring ID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dokument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pplikant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ad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sook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inder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n alle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woner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op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eiendom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wy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dre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laast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munisipal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rekenin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wy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goedin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beëdigd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verklarin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indien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werkloos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,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ondersteunin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u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nsoek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  <a:p>
            <a:pPr marL="342900" marR="0" lvl="0" indent="-342900" algn="just" defTabSz="914400" rtl="0" eaLnBrk="1" fontAlgn="auto" latinLnBrk="0" hangingPunct="1"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ubsidies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sal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gekrediteer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word van datum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aansoek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en is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terugwerkend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van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krag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 </a:t>
            </a:r>
            <a:r>
              <a:rPr kumimoji="0" lang="en-ZA" sz="2400" b="0" i="0" u="none" strike="noStrike" kern="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nie</a:t>
            </a:r>
            <a:r>
              <a:rPr kumimoji="0" lang="en-ZA" sz="2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t>.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593851814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DDE2DDE-AF42-4E9A-9602-F240ACA89CB0}"/>
              </a:ext>
            </a:extLst>
          </p:cNvPr>
          <p:cNvSpPr txBox="1">
            <a:spLocks/>
          </p:cNvSpPr>
          <p:nvPr/>
        </p:nvSpPr>
        <p:spPr>
          <a:xfrm>
            <a:off x="238672" y="40520"/>
            <a:ext cx="11819978" cy="687498"/>
          </a:xfrm>
          <a:prstGeom prst="rect">
            <a:avLst/>
          </a:prstGeom>
          <a:ln>
            <a:solidFill>
              <a:srgbClr val="5B9BD5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MPAK VAN TARIEWE OP MUNISIPALE REKENING: MEDIUM HUISHOUDING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E5E41440-7E73-4675-B63D-3BC6592F83F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557462" y="875354"/>
            <a:ext cx="9610178" cy="5942126"/>
          </a:xfrm>
          <a:prstGeom prst="rect">
            <a:avLst/>
          </a:prstGeom>
          <a:solidFill>
            <a:schemeClr val="bg1"/>
          </a:solidFill>
          <a:ln>
            <a:solidFill>
              <a:schemeClr val="accent1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E5A0AC28-69B0-401C-8171-BB5999815E3A}"/>
              </a:ext>
            </a:extLst>
          </p:cNvPr>
          <p:cNvSpPr txBox="1"/>
          <p:nvPr/>
        </p:nvSpPr>
        <p:spPr>
          <a:xfrm>
            <a:off x="161926" y="1046770"/>
            <a:ext cx="1866352" cy="3539430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8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Basiese</a:t>
            </a:r>
            <a:r>
              <a:rPr lang="en-US" sz="28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8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iendoms</a:t>
            </a:r>
            <a:r>
              <a:rPr lang="en-US" sz="28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- </a:t>
            </a:r>
            <a:r>
              <a:rPr lang="en-US" sz="28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arde</a:t>
            </a: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700 000, 1 000 kWh </a:t>
            </a:r>
            <a:r>
              <a:rPr kumimoji="0" lang="en-US" sz="28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</a:t>
            </a:r>
            <a:r>
              <a:rPr lang="en-US" sz="28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t </a:t>
            </a:r>
            <a:r>
              <a:rPr lang="en-US" sz="28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28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30 kl water </a:t>
            </a:r>
            <a:endParaRPr kumimoji="0" lang="en-ZA" sz="2800" b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1CA0FB3B-853B-4202-8427-954918F1730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69581938"/>
              </p:ext>
            </p:extLst>
          </p:nvPr>
        </p:nvGraphicFramePr>
        <p:xfrm>
          <a:off x="73954" y="5567697"/>
          <a:ext cx="2483508" cy="731520"/>
        </p:xfrm>
        <a:graphic>
          <a:graphicData uri="http://schemas.openxmlformats.org/drawingml/2006/table">
            <a:tbl>
              <a:tblPr firstRow="1" firstCol="1" bandRow="1"/>
              <a:tblGrid>
                <a:gridCol w="956422">
                  <a:extLst>
                    <a:ext uri="{9D8B030D-6E8A-4147-A177-3AD203B41FA5}">
                      <a16:colId xmlns:a16="http://schemas.microsoft.com/office/drawing/2014/main" val="439915490"/>
                    </a:ext>
                  </a:extLst>
                </a:gridCol>
                <a:gridCol w="1527086">
                  <a:extLst>
                    <a:ext uri="{9D8B030D-6E8A-4147-A177-3AD203B41FA5}">
                      <a16:colId xmlns:a16="http://schemas.microsoft.com/office/drawing/2014/main" val="903218031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r>
                        <a:rPr lang="en-ZA" sz="24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ullis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1.70 </a:t>
                      </a:r>
                      <a:r>
                        <a:rPr lang="en-ZA" sz="24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.m</a:t>
                      </a:r>
                      <a:endParaRPr lang="en-ZA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70350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r>
                        <a:rPr lang="en-ZA" sz="24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ool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40 </a:t>
                      </a:r>
                      <a:r>
                        <a:rPr lang="en-ZA" sz="24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.m</a:t>
                      </a:r>
                      <a:endParaRPr lang="en-ZA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7468663"/>
                  </a:ext>
                </a:extLst>
              </a:tr>
            </a:tbl>
          </a:graphicData>
        </a:graphic>
      </p:graphicFrame>
      <p:sp>
        <p:nvSpPr>
          <p:cNvPr id="3" name="TextBox 2">
            <a:extLst>
              <a:ext uri="{FF2B5EF4-FFF2-40B4-BE49-F238E27FC236}">
                <a16:creationId xmlns:a16="http://schemas.microsoft.com/office/drawing/2014/main" id="{D24F9510-8B4A-4E4B-B6CE-116570792D48}"/>
              </a:ext>
            </a:extLst>
          </p:cNvPr>
          <p:cNvSpPr txBox="1"/>
          <p:nvPr/>
        </p:nvSpPr>
        <p:spPr>
          <a:xfrm>
            <a:off x="438150" y="5114925"/>
            <a:ext cx="14763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AK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85309488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6385F6CB-277D-4562-9620-1CF85F5B76A1}"/>
              </a:ext>
            </a:extLst>
          </p:cNvPr>
          <p:cNvSpPr txBox="1">
            <a:spLocks/>
          </p:cNvSpPr>
          <p:nvPr/>
        </p:nvSpPr>
        <p:spPr>
          <a:xfrm>
            <a:off x="0" y="33449"/>
            <a:ext cx="12192000" cy="687498"/>
          </a:xfrm>
          <a:prstGeom prst="rect">
            <a:avLst/>
          </a:prstGeom>
          <a:ln>
            <a:solidFill>
              <a:srgbClr val="5B9BD5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MPAK VAN TARIEWE OP MUNISIPALE REKENING: BEKOSTIGBARE HUISHOUDING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6F2443ED-E7B6-464A-A07E-573500AD13BA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2619374" y="720947"/>
            <a:ext cx="9333953" cy="6045856"/>
          </a:xfrm>
          <a:prstGeom prst="rect">
            <a:avLst/>
          </a:prstGeom>
          <a:solidFill>
            <a:schemeClr val="bg1"/>
          </a:solidFill>
          <a:ln>
            <a:solidFill>
              <a:srgbClr val="5B9BD5"/>
            </a:solidFill>
          </a:ln>
        </p:spPr>
      </p:pic>
      <p:sp>
        <p:nvSpPr>
          <p:cNvPr id="24" name="TextBox 23">
            <a:extLst>
              <a:ext uri="{FF2B5EF4-FFF2-40B4-BE49-F238E27FC236}">
                <a16:creationId xmlns:a16="http://schemas.microsoft.com/office/drawing/2014/main" id="{B62A8A0D-F2DA-4B04-80BB-9CA5FFC7104D}"/>
              </a:ext>
            </a:extLst>
          </p:cNvPr>
          <p:cNvSpPr txBox="1"/>
          <p:nvPr/>
        </p:nvSpPr>
        <p:spPr>
          <a:xfrm>
            <a:off x="104775" y="1804883"/>
            <a:ext cx="2275925" cy="2677656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28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iendoms-waarde</a:t>
            </a: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500 000 </a:t>
            </a:r>
            <a:r>
              <a:rPr kumimoji="0" lang="en-US" sz="28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700 000, 500 kWh </a:t>
            </a:r>
            <a:r>
              <a:rPr kumimoji="0" lang="en-US" sz="28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t</a:t>
            </a: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8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8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5 kl water </a:t>
            </a:r>
            <a:endParaRPr kumimoji="0" lang="en-ZA" sz="2800" b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B6E8EFAD-A91F-4268-8A3F-1C13123323E0}"/>
              </a:ext>
            </a:extLst>
          </p:cNvPr>
          <p:cNvSpPr txBox="1"/>
          <p:nvPr/>
        </p:nvSpPr>
        <p:spPr>
          <a:xfrm>
            <a:off x="438150" y="5114925"/>
            <a:ext cx="1476375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2400" b="1" dirty="0">
                <a:solidFill>
                  <a:schemeClr val="bg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IMPAK</a:t>
            </a:r>
          </a:p>
        </p:txBody>
      </p:sp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878095BB-4F44-4E0B-B609-CFBEE335F2EB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85768659"/>
              </p:ext>
            </p:extLst>
          </p:nvPr>
        </p:nvGraphicFramePr>
        <p:xfrm>
          <a:off x="262211" y="5552480"/>
          <a:ext cx="2261914" cy="731520"/>
        </p:xfrm>
        <a:graphic>
          <a:graphicData uri="http://schemas.openxmlformats.org/drawingml/2006/table">
            <a:tbl>
              <a:tblPr firstRow="1" firstCol="1" bandRow="1"/>
              <a:tblGrid>
                <a:gridCol w="871084">
                  <a:extLst>
                    <a:ext uri="{9D8B030D-6E8A-4147-A177-3AD203B41FA5}">
                      <a16:colId xmlns:a16="http://schemas.microsoft.com/office/drawing/2014/main" val="439915490"/>
                    </a:ext>
                  </a:extLst>
                </a:gridCol>
                <a:gridCol w="1390830">
                  <a:extLst>
                    <a:ext uri="{9D8B030D-6E8A-4147-A177-3AD203B41FA5}">
                      <a16:colId xmlns:a16="http://schemas.microsoft.com/office/drawing/2014/main" val="903218031"/>
                    </a:ext>
                  </a:extLst>
                </a:gridCol>
              </a:tblGrid>
              <a:tr h="161925">
                <a:tc>
                  <a:txBody>
                    <a:bodyPr/>
                    <a:lstStyle/>
                    <a:p>
                      <a:r>
                        <a:rPr lang="en-ZA" sz="24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Vullis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41.70 </a:t>
                      </a:r>
                      <a:r>
                        <a:rPr lang="en-ZA" sz="24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.m</a:t>
                      </a:r>
                      <a:endParaRPr lang="en-ZA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292703507"/>
                  </a:ext>
                </a:extLst>
              </a:tr>
              <a:tr h="161925">
                <a:tc>
                  <a:txBody>
                    <a:bodyPr/>
                    <a:lstStyle/>
                    <a:p>
                      <a:r>
                        <a:rPr lang="en-ZA" sz="240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Riool</a:t>
                      </a: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ZA" sz="2400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16.40 </a:t>
                      </a:r>
                      <a:r>
                        <a:rPr lang="en-ZA" sz="2400" dirty="0" err="1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Calibri" panose="020F0502020204030204" pitchFamily="34" charset="0"/>
                        </a:rPr>
                        <a:t>p.m</a:t>
                      </a:r>
                      <a:endParaRPr lang="en-ZA" sz="2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8580" marR="68580" marT="0" marB="0" anchor="b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34746866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796128000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2A749FEC-6407-4B69-8574-5AE315566FD0}"/>
              </a:ext>
            </a:extLst>
          </p:cNvPr>
          <p:cNvSpPr txBox="1">
            <a:spLocks/>
          </p:cNvSpPr>
          <p:nvPr/>
        </p:nvSpPr>
        <p:spPr>
          <a:xfrm>
            <a:off x="616023" y="-34925"/>
            <a:ext cx="11251579" cy="687498"/>
          </a:xfrm>
          <a:prstGeom prst="rect">
            <a:avLst/>
          </a:prstGeom>
          <a:ln>
            <a:solidFill>
              <a:srgbClr val="5B9BD5"/>
            </a:solidFill>
          </a:ln>
        </p:spPr>
        <p:txBody>
          <a:bodyPr vert="horz" lIns="91440" tIns="45720" rIns="91440" bIns="45720" rtlCol="0" anchor="ctr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j-ea"/>
                <a:cs typeface="Calibri" panose="020F0502020204030204" pitchFamily="34" charset="0"/>
              </a:rPr>
              <a:t>IMPAK VAN TARIEWE OP MUNISIPALE REKENING: DEERNISHUISHOUDINGS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C2BD9F82-ACEC-4365-837E-2D554BB073C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977236" y="652573"/>
            <a:ext cx="8048076" cy="6098665"/>
          </a:xfrm>
          <a:prstGeom prst="rect">
            <a:avLst/>
          </a:prstGeom>
          <a:solidFill>
            <a:schemeClr val="bg1"/>
          </a:solidFill>
          <a:ln>
            <a:solidFill>
              <a:srgbClr val="5B9BD5"/>
            </a:solidFill>
          </a:ln>
        </p:spPr>
      </p:pic>
      <p:sp>
        <p:nvSpPr>
          <p:cNvPr id="22" name="TextBox 21">
            <a:extLst>
              <a:ext uri="{FF2B5EF4-FFF2-40B4-BE49-F238E27FC236}">
                <a16:creationId xmlns:a16="http://schemas.microsoft.com/office/drawing/2014/main" id="{27E43495-C0DC-42DA-8E51-B769CDEA4C8B}"/>
              </a:ext>
            </a:extLst>
          </p:cNvPr>
          <p:cNvSpPr txBox="1"/>
          <p:nvPr/>
        </p:nvSpPr>
        <p:spPr>
          <a:xfrm>
            <a:off x="71983" y="827391"/>
            <a:ext cx="3766591" cy="5262979"/>
          </a:xfrm>
          <a:prstGeom prst="rect">
            <a:avLst/>
          </a:prstGeom>
          <a:noFill/>
          <a:ln>
            <a:solidFill>
              <a:schemeClr val="bg1"/>
            </a:solidFill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iendomswaarde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300 000, 350 kWh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t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20 kl water (50 kWh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t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n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6 kl water gratis). 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Verhoging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in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rekening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sal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77.21 per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and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wees.  Met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inde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r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bruik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,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al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hoging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kleiner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ees.  As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waardasie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bruik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van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deernis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(water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n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elektrisiteit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)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gebruik</a:t>
            </a:r>
            <a:r>
              <a:rPr lang="en-US" sz="2400" dirty="0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word, is </a:t>
            </a:r>
            <a:r>
              <a:rPr lang="en-US" sz="2400" dirty="0" err="1">
                <a:solidFill>
                  <a:prstClr val="white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verhoging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55,73/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maand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waarvan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</a:t>
            </a:r>
            <a:r>
              <a:rPr kumimoji="0" lang="en-US" sz="2400" b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elektrisiteit</a:t>
            </a:r>
            <a:r>
              <a:rPr kumimoji="0" lang="en-US" sz="2400" b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Calibri" panose="020F0502020204030204" pitchFamily="34" charset="0"/>
              </a:rPr>
              <a:t> R 35.07 or 62.9 %)</a:t>
            </a:r>
            <a:endParaRPr kumimoji="0" lang="en-ZA" sz="2400" b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Calibri" panose="020F0502020204030204" pitchFamily="34" charset="0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717497039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263352" y="1412776"/>
            <a:ext cx="11662043" cy="1152128"/>
          </a:xfrm>
        </p:spPr>
        <p:txBody>
          <a:bodyPr anchor="t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GB" sz="4000" dirty="0">
                <a:solidFill>
                  <a:schemeClr val="tx1"/>
                </a:solidFill>
              </a:rPr>
              <a:t>MUNICIPALITY  ●  BERGRIVIER  ●  MUNISIPALITEIT</a:t>
            </a:r>
          </a:p>
        </p:txBody>
      </p:sp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322887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13831" y="5322888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45856" y="5322887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087394" y="5322887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274175" y="5322725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685384" y="2276872"/>
            <a:ext cx="10945216" cy="1728192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11879" y="0"/>
            <a:ext cx="1080120" cy="140019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97924" y="2856274"/>
            <a:ext cx="1046665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ONSEP GOP (IDP) 2022/2023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ZA" sz="3600" b="1" kern="0" dirty="0">
                <a:solidFill>
                  <a:prstClr val="black"/>
                </a:solidFill>
                <a:latin typeface="Century Gothic"/>
              </a:rPr>
              <a:t>BEHOEFTES VAN WYK 4 SOOS TANS IN GOP</a:t>
            </a:r>
            <a:endParaRPr kumimoji="0" lang="en-ZA" sz="24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286801775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322887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85969" y="5322888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91100" y="5325901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132637" y="5326063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4" y="5326063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0" y="1144906"/>
            <a:ext cx="11953328" cy="489455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RGRIVIER MUNISIPALITEIT</a:t>
            </a:r>
          </a:p>
          <a:p>
            <a:pPr marL="571500" marR="0" lvl="0" indent="-57150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Wet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paal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on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moet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met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gemeenskap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konsulteer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oor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hoefte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van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gemeenskap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;</a:t>
            </a:r>
          </a:p>
          <a:p>
            <a:pPr marL="571500" marR="0" lvl="0" indent="-57150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Raad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het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vorige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IDP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aanvaar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agv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verkiesingsdatum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;</a:t>
            </a:r>
          </a:p>
          <a:p>
            <a:pPr marL="571500" marR="0" lvl="0" indent="-57150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hoefte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in IDP is in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Hoofstuk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6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volledig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;</a:t>
            </a:r>
          </a:p>
          <a:p>
            <a:pPr marL="571500" marR="0" lvl="0" indent="-571500" algn="l" defTabSz="914400" rtl="0" eaLnBrk="1" fontAlgn="auto" latinLnBrk="0" hangingPunct="1">
              <a:spcBef>
                <a:spcPts val="600"/>
              </a:spcBef>
              <a:spcAft>
                <a:spcPts val="60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spreek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eer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konsep-begroting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en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dan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huidige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 </a:t>
            </a:r>
            <a:r>
              <a:rPr lang="en-GB" sz="3600" b="1" dirty="0" err="1">
                <a:solidFill>
                  <a:prstClr val="white"/>
                </a:solidFill>
                <a:latin typeface="Calibri" panose="020F0502020204030204" pitchFamily="34" charset="0"/>
              </a:rPr>
              <a:t>behoeftes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.</a:t>
            </a: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9" cstate="print"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ackgroundRemoval t="508" b="100000" l="0" r="100000">
                        <a14:foregroundMark x1="48502" y1="27494" x2="48502" y2="27494"/>
                        <a14:foregroundMark x1="55920" y1="25172" x2="55920" y2="25172"/>
                        <a14:foregroundMark x1="50689" y1="17156" x2="50689" y2="17156"/>
                        <a14:foregroundMark x1="44983" y1="34168" x2="44983" y2="34168"/>
                        <a14:foregroundMark x1="46315" y1="44505" x2="46315" y2="44505"/>
                        <a14:foregroundMark x1="49786" y1="45847" x2="49786" y2="45847"/>
                        <a14:foregroundMark x1="32335" y1="53500" x2="32335" y2="53500"/>
                        <a14:foregroundMark x1="66381" y1="50490" x2="66381" y2="50490"/>
                        <a14:foregroundMark x1="78650" y1="79507" x2="78650" y2="79507"/>
                        <a14:foregroundMark x1="72515" y1="89518" x2="71232" y2="89844"/>
                        <a14:foregroundMark x1="46315" y1="93834" x2="46315" y2="93834"/>
                        <a14:foregroundMark x1="30147" y1="90497" x2="30147" y2="90497"/>
                        <a14:foregroundMark x1="22254" y1="80486" x2="22254" y2="80486"/>
                        <a14:foregroundMark x1="6990" y1="63838" x2="6990" y2="63838"/>
                        <a14:foregroundMark x1="20067" y1="80160" x2="20067" y2="80160"/>
                        <a14:foregroundMark x1="6990" y1="41821" x2="6990" y2="41821"/>
                        <a14:foregroundMark x1="92630" y1="42184" x2="92630" y2="42184"/>
                        <a14:foregroundMark x1="91774" y1="63838" x2="91774" y2="63838"/>
                        <a14:foregroundMark x1="83452" y1="83497" x2="83452" y2="83497"/>
                        <a14:foregroundMark x1="19211" y1="85165" x2="19211" y2="85165"/>
                        <a14:foregroundMark x1="55920" y1="34820" x2="55920" y2="34820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96146" y="170328"/>
            <a:ext cx="1295854" cy="1694331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1191061208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238672" y="-866775"/>
            <a:ext cx="11953328" cy="587627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4 (</a:t>
            </a:r>
            <a:r>
              <a:rPr lang="en-GB" sz="3600" b="1" dirty="0">
                <a:solidFill>
                  <a:prstClr val="white"/>
                </a:solidFill>
                <a:latin typeface="Calibri" panose="020F0502020204030204" pitchFamily="34" charset="0"/>
              </a:rPr>
              <a:t>GOP</a:t>
            </a:r>
            <a:r>
              <a:rPr lang="en-GB" sz="4000" b="1" dirty="0">
                <a:solidFill>
                  <a:prstClr val="white"/>
                </a:solidFill>
                <a:latin typeface="Calibri" panose="020F0502020204030204" pitchFamily="34" charset="0"/>
              </a:rPr>
              <a:t>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lang="en-GB" b="1" dirty="0">
              <a:solidFill>
                <a:prstClr val="white"/>
              </a:solidFill>
              <a:latin typeface="Calibri" panose="020F0502020204030204" pitchFamily="34" charset="0"/>
            </a:endParaRPr>
          </a:p>
          <a:p>
            <a:pPr marL="1028700" marR="0" lvl="1" indent="-571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16E94DE0-865D-4952-8A29-32278BE767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41025079"/>
              </p:ext>
            </p:extLst>
          </p:nvPr>
        </p:nvGraphicFramePr>
        <p:xfrm>
          <a:off x="80962" y="613075"/>
          <a:ext cx="12034838" cy="6244920"/>
        </p:xfrm>
        <a:graphic>
          <a:graphicData uri="http://schemas.openxmlformats.org/drawingml/2006/table">
            <a:tbl>
              <a:tblPr/>
              <a:tblGrid>
                <a:gridCol w="2052638">
                  <a:extLst>
                    <a:ext uri="{9D8B030D-6E8A-4147-A177-3AD203B41FA5}">
                      <a16:colId xmlns:a16="http://schemas.microsoft.com/office/drawing/2014/main" val="21328126"/>
                    </a:ext>
                  </a:extLst>
                </a:gridCol>
                <a:gridCol w="9982200">
                  <a:extLst>
                    <a:ext uri="{9D8B030D-6E8A-4147-A177-3AD203B41FA5}">
                      <a16:colId xmlns:a16="http://schemas.microsoft.com/office/drawing/2014/main" val="803407186"/>
                    </a:ext>
                  </a:extLst>
                </a:gridCol>
              </a:tblGrid>
              <a:tr h="346948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olid Waste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Establishment of a composting facility at the land fill site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1087252"/>
                  </a:ext>
                </a:extLst>
              </a:tr>
              <a:tr h="641338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is is an ongoing awareness programme.  Separate containers for recycling material must be in town, especially at the major shops,  and at PHS sport fields</a:t>
                      </a:r>
                      <a:endParaRPr lang="en-GB" sz="2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2122001"/>
                  </a:ext>
                </a:extLst>
              </a:tr>
              <a:tr h="346948">
                <a:tc rowSpan="4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rm water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ain lids in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emoon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r to high.  Pedestrians trip over lids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39083692"/>
                  </a:ext>
                </a:extLst>
              </a:tr>
              <a:tr h="346948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rm Water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t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ynville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econdary School hostel a bigger stormwater pipe is needed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65253597"/>
                  </a:ext>
                </a:extLst>
              </a:tr>
              <a:tr h="341395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rm Water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ing of storm water systems in Ward 4</a:t>
                      </a:r>
                      <a:endParaRPr lang="en-GB" sz="2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351770"/>
                  </a:ext>
                </a:extLst>
              </a:tr>
              <a:tr h="341395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orm Water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tion of storm water channels at low cost houses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67413362"/>
                  </a:ext>
                </a:extLst>
              </a:tr>
              <a:tr h="341395">
                <a:tc rowSpan="8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oads &amp; Pavements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arring of road in front of clinic</a:t>
                      </a:r>
                      <a:endParaRPr lang="en-GB" sz="2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9636698"/>
                  </a:ext>
                </a:extLst>
              </a:tr>
              <a:tr h="34139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pair of Ires str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08167574"/>
                  </a:ext>
                </a:extLst>
              </a:tr>
              <a:tr h="346948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edestrian crossing between Piketberg &amp;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nkelshoek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over the N7 highway</a:t>
                      </a:r>
                      <a:endParaRPr lang="en-GB" sz="2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96262884"/>
                  </a:ext>
                </a:extLst>
              </a:tr>
              <a:tr h="34139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tion of pavements in Ward 4</a:t>
                      </a:r>
                      <a:endParaRPr lang="en-GB" sz="20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00592266"/>
                  </a:ext>
                </a:extLst>
              </a:tr>
              <a:tr h="34139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dewalks in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usblom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r priority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373327"/>
                  </a:ext>
                </a:extLst>
              </a:tr>
              <a:tr h="346948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idewalk in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andblom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r to be repaired due to high volume of water</a:t>
                      </a:r>
                      <a:endParaRPr lang="en-GB" sz="2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917903"/>
                  </a:ext>
                </a:extLst>
              </a:tr>
              <a:tr h="34139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sidewalks</a:t>
                      </a:r>
                      <a:endParaRPr lang="en-ZA" sz="20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75993469"/>
                  </a:ext>
                </a:extLst>
              </a:tr>
              <a:tr h="34139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ider street names on all curbs for all the streets</a:t>
                      </a:r>
                      <a:endParaRPr lang="en-GB" sz="2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30958760"/>
                  </a:ext>
                </a:extLst>
              </a:tr>
              <a:tr h="693900">
                <a:tc rowSpan="2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er</a:t>
                      </a: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gular water leaks due to old pipes as well as limited maintenance to infrastructure generally hampers service delivery to residents</a:t>
                      </a:r>
                      <a:endParaRPr lang="en-GB" sz="2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52517322"/>
                  </a:ext>
                </a:extLst>
              </a:tr>
              <a:tr h="443782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tion of new Reservoir</a:t>
                      </a:r>
                      <a:endParaRPr lang="en-ZA" sz="20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219" marR="3219" marT="321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622812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40103927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238672" y="-866775"/>
            <a:ext cx="11953328" cy="587627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4 (GOP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028700" marR="0" lvl="1" indent="-571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9DDCB030-D1D9-47C5-917D-8ED0B90986E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73582085"/>
              </p:ext>
            </p:extLst>
          </p:nvPr>
        </p:nvGraphicFramePr>
        <p:xfrm>
          <a:off x="119336" y="571500"/>
          <a:ext cx="11953328" cy="6192307"/>
        </p:xfrm>
        <a:graphic>
          <a:graphicData uri="http://schemas.openxmlformats.org/drawingml/2006/table">
            <a:tbl>
              <a:tblPr/>
              <a:tblGrid>
                <a:gridCol w="956989">
                  <a:extLst>
                    <a:ext uri="{9D8B030D-6E8A-4147-A177-3AD203B41FA5}">
                      <a16:colId xmlns:a16="http://schemas.microsoft.com/office/drawing/2014/main" val="1870520863"/>
                    </a:ext>
                  </a:extLst>
                </a:gridCol>
                <a:gridCol w="10996339">
                  <a:extLst>
                    <a:ext uri="{9D8B030D-6E8A-4147-A177-3AD203B41FA5}">
                      <a16:colId xmlns:a16="http://schemas.microsoft.com/office/drawing/2014/main" val="3543284152"/>
                    </a:ext>
                  </a:extLst>
                </a:gridCol>
              </a:tblGrid>
              <a:tr h="344245">
                <a:tc rowSpan="19">
                  <a:txBody>
                    <a:bodyPr/>
                    <a:lstStyle/>
                    <a:p>
                      <a:pPr algn="ctr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ort Development</a:t>
                      </a:r>
                    </a:p>
                  </a:txBody>
                  <a:tcPr marL="3159" marR="3159" marT="3159" marB="0" vert="vert27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lden Games take place on an annual basis and serves an important purposes for the elderly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95007013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ablishment of an indoor sport complex in Ward 4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99536691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ynthetic athletics track in Ward 4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13645160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w </a:t>
                      </a:r>
                      <a:r>
                        <a:rPr lang="en-ZA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etbal</a:t>
                      </a:r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courts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2700381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Recreational facilities to be upgraded at cricket field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0772484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of swimming pool in Long street for children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29236772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ing of buildings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4505730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ncing Rhino Park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83106849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Pitch Covers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57593860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ilding a combi court with lights and ablution facility at Rhino Park</a:t>
                      </a:r>
                    </a:p>
                  </a:txBody>
                  <a:tcPr marL="3159" marR="3159" marT="315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86431682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xtension of Rhino Park pavilion roof</a:t>
                      </a:r>
                    </a:p>
                  </a:txBody>
                  <a:tcPr marL="3159" marR="3159" marT="315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91464314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tructuring Rhino Park stadium to be disability friendly</a:t>
                      </a:r>
                    </a:p>
                  </a:txBody>
                  <a:tcPr marL="3159" marR="3159" marT="315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61855272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nes for athletic track at Watsonia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24725899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ing the Watsonia B-field as a multi-purpose sports field</a:t>
                      </a:r>
                    </a:p>
                  </a:txBody>
                  <a:tcPr marL="3159" marR="3159" marT="315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93295283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of floodlights on Watsonia A and B field</a:t>
                      </a:r>
                    </a:p>
                  </a:txBody>
                  <a:tcPr marL="3159" marR="3159" marT="315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50156625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structuring Watsonia stadium to be disability friendly</a:t>
                      </a:r>
                    </a:p>
                  </a:txBody>
                  <a:tcPr marL="3159" marR="3159" marT="315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9618344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of a cricket pitch at Watsonia Sports Grounds</a:t>
                      </a:r>
                    </a:p>
                  </a:txBody>
                  <a:tcPr marL="3159" marR="3159" marT="3159" marB="0" anchor="b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4664792"/>
                  </a:ext>
                </a:extLst>
              </a:tr>
              <a:tr h="306945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stablish a park run in Piketberg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79806190"/>
                  </a:ext>
                </a:extLst>
              </a:tr>
              <a:tr h="324000">
                <a:tc vMerge="1">
                  <a:txBody>
                    <a:bodyPr/>
                    <a:lstStyle/>
                    <a:p>
                      <a:pPr algn="l" fontAlgn="ctr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vamp the netball court in Piketberg, ensure sufficient shading together with benches for the audience/ supporters</a:t>
                      </a:r>
                    </a:p>
                  </a:txBody>
                  <a:tcPr marL="3159" marR="3159" marT="3159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90886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102606018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341232" y="-255180"/>
            <a:ext cx="11953328" cy="4076700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4 (GOP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2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028700" marR="0" lvl="1" indent="-571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AE81A31-BD9E-4020-B945-FB2C6892A61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59811500"/>
              </p:ext>
            </p:extLst>
          </p:nvPr>
        </p:nvGraphicFramePr>
        <p:xfrm>
          <a:off x="95250" y="308543"/>
          <a:ext cx="12096750" cy="3579607"/>
        </p:xfrm>
        <a:graphic>
          <a:graphicData uri="http://schemas.openxmlformats.org/drawingml/2006/table">
            <a:tbl>
              <a:tblPr/>
              <a:tblGrid>
                <a:gridCol w="2295525">
                  <a:extLst>
                    <a:ext uri="{9D8B030D-6E8A-4147-A177-3AD203B41FA5}">
                      <a16:colId xmlns:a16="http://schemas.microsoft.com/office/drawing/2014/main" val="2568220419"/>
                    </a:ext>
                  </a:extLst>
                </a:gridCol>
                <a:gridCol w="9801225">
                  <a:extLst>
                    <a:ext uri="{9D8B030D-6E8A-4147-A177-3AD203B41FA5}">
                      <a16:colId xmlns:a16="http://schemas.microsoft.com/office/drawing/2014/main" val="930513576"/>
                    </a:ext>
                  </a:extLst>
                </a:gridCol>
              </a:tblGrid>
              <a:tr h="0">
                <a:tc rowSpan="8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raffic &amp; Law enforce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o order at the taxi rank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29222751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ed bump in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ousblom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r due to high speed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1684165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ed bump in Lavender str due to high speeding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22376255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rivers License Test Yar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77788702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ment of a rural and urban safety plan for Bergrivier municipal area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6428096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ing of road signs and mark of road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7646854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peed bumps must be on c/o Calendula/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arel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illiers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reet &amp; Long Street opposite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Steynville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chool sport ground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1377249"/>
                  </a:ext>
                </a:extLst>
              </a:tr>
              <a:tr h="0">
                <a:tc vMerge="1">
                  <a:txBody>
                    <a:bodyPr/>
                    <a:lstStyle/>
                    <a:p>
                      <a:pPr algn="l" fontAlgn="ctr"/>
                      <a:endParaRPr lang="en-ZA" sz="10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evelop a demarcated area for times of overcrowding in town where there is local entertainment, picnic areas, etc as to control the crow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658552"/>
                  </a:ext>
                </a:extLst>
              </a:tr>
              <a:tr h="480807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saster manage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mergency numbers to be on "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ridget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magnets"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55401851"/>
                  </a:ext>
                </a:extLst>
              </a:tr>
            </a:tbl>
          </a:graphicData>
        </a:graphic>
      </p:graphicFrame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049435A4-5477-40C6-A6A1-FBC8E7439C07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1619083"/>
              </p:ext>
            </p:extLst>
          </p:nvPr>
        </p:nvGraphicFramePr>
        <p:xfrm>
          <a:off x="95250" y="3949110"/>
          <a:ext cx="12084705" cy="2908890"/>
        </p:xfrm>
        <a:graphic>
          <a:graphicData uri="http://schemas.openxmlformats.org/drawingml/2006/table">
            <a:tbl>
              <a:tblPr/>
              <a:tblGrid>
                <a:gridCol w="2343150">
                  <a:extLst>
                    <a:ext uri="{9D8B030D-6E8A-4147-A177-3AD203B41FA5}">
                      <a16:colId xmlns:a16="http://schemas.microsoft.com/office/drawing/2014/main" val="1773349129"/>
                    </a:ext>
                  </a:extLst>
                </a:gridCol>
                <a:gridCol w="9741555">
                  <a:extLst>
                    <a:ext uri="{9D8B030D-6E8A-4147-A177-3AD203B41FA5}">
                      <a16:colId xmlns:a16="http://schemas.microsoft.com/office/drawing/2014/main" val="1777096865"/>
                    </a:ext>
                  </a:extLst>
                </a:gridCol>
              </a:tblGrid>
              <a:tr h="323210">
                <a:tc rowSpan="8"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mmunity Faciliti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blic toile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33945913"/>
                  </a:ext>
                </a:extLst>
              </a:tr>
              <a:tr h="323210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nicipal facilities to be disabled friendl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71030541"/>
                  </a:ext>
                </a:extLst>
              </a:tr>
              <a:tr h="323210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i-Fi at libraries to be install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04337105"/>
                  </a:ext>
                </a:extLst>
              </a:tr>
              <a:tr h="323210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ark at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zalia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str has a dark spot and lightning is need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7954044"/>
                  </a:ext>
                </a:extLst>
              </a:tr>
              <a:tr h="323210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encing around play park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46569224"/>
                  </a:ext>
                </a:extLst>
              </a:tr>
              <a:tr h="323210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nches at play parks and general upgrading of play park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32456314"/>
                  </a:ext>
                </a:extLst>
              </a:tr>
              <a:tr h="323210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community park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6319653"/>
                  </a:ext>
                </a:extLst>
              </a:tr>
              <a:tr h="323210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design of Piketberg Town Entranc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38961458"/>
                  </a:ext>
                </a:extLst>
              </a:tr>
              <a:tr h="323210"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emetrie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ile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8059151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51134174"/>
      </p:ext>
    </p:extLst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238672" y="-866775"/>
            <a:ext cx="11953328" cy="587627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028700" marR="0" lvl="1" indent="-571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A9D7E668-CDD1-48A4-9DB4-6DAB17ABBC5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89769070"/>
              </p:ext>
            </p:extLst>
          </p:nvPr>
        </p:nvGraphicFramePr>
        <p:xfrm>
          <a:off x="119334" y="852491"/>
          <a:ext cx="11953329" cy="1821519"/>
        </p:xfrm>
        <a:graphic>
          <a:graphicData uri="http://schemas.openxmlformats.org/drawingml/2006/table">
            <a:tbl>
              <a:tblPr/>
              <a:tblGrid>
                <a:gridCol w="1851133">
                  <a:extLst>
                    <a:ext uri="{9D8B030D-6E8A-4147-A177-3AD203B41FA5}">
                      <a16:colId xmlns:a16="http://schemas.microsoft.com/office/drawing/2014/main" val="2336794252"/>
                    </a:ext>
                  </a:extLst>
                </a:gridCol>
                <a:gridCol w="10102196">
                  <a:extLst>
                    <a:ext uri="{9D8B030D-6E8A-4147-A177-3AD203B41FA5}">
                      <a16:colId xmlns:a16="http://schemas.microsoft.com/office/drawing/2014/main" val="3168214118"/>
                    </a:ext>
                  </a:extLst>
                </a:gridCol>
              </a:tblGrid>
              <a:tr h="520434">
                <a:tc rowSpan="3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Youth develop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</a:rPr>
                        <a:t>A Youth Café in Piketberg based in the envisaged POP Centre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9969800"/>
                  </a:ext>
                </a:extLst>
              </a:tr>
              <a:tr h="520434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-centre to be established to ensure access to training in IT </a:t>
                      </a:r>
                      <a:endParaRPr lang="en-GB" sz="24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35925291"/>
                  </a:ext>
                </a:extLst>
              </a:tr>
              <a:tr h="780651">
                <a:tc vMerge="1">
                  <a:txBody>
                    <a:bodyPr/>
                    <a:lstStyle/>
                    <a:p>
                      <a:pPr algn="l" fontAlgn="ctr"/>
                      <a:endParaRPr lang="en-ZA" sz="14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 programme for youth development linked to skills development needs to be developed </a:t>
                      </a:r>
                      <a:endParaRPr lang="en-GB" sz="24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2250385"/>
                  </a:ext>
                </a:extLst>
              </a:tr>
            </a:tbl>
          </a:graphicData>
        </a:graphic>
      </p:graphicFrame>
      <p:graphicFrame>
        <p:nvGraphicFramePr>
          <p:cNvPr id="7" name="Table 6">
            <a:extLst>
              <a:ext uri="{FF2B5EF4-FFF2-40B4-BE49-F238E27FC236}">
                <a16:creationId xmlns:a16="http://schemas.microsoft.com/office/drawing/2014/main" id="{5534CD15-E3A6-45A8-907B-FF1FFE727B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17777526"/>
              </p:ext>
            </p:extLst>
          </p:nvPr>
        </p:nvGraphicFramePr>
        <p:xfrm>
          <a:off x="119334" y="2890572"/>
          <a:ext cx="11953329" cy="3854718"/>
        </p:xfrm>
        <a:graphic>
          <a:graphicData uri="http://schemas.openxmlformats.org/drawingml/2006/table">
            <a:tbl>
              <a:tblPr/>
              <a:tblGrid>
                <a:gridCol w="1860287">
                  <a:extLst>
                    <a:ext uri="{9D8B030D-6E8A-4147-A177-3AD203B41FA5}">
                      <a16:colId xmlns:a16="http://schemas.microsoft.com/office/drawing/2014/main" val="2430830698"/>
                    </a:ext>
                  </a:extLst>
                </a:gridCol>
                <a:gridCol w="10093042">
                  <a:extLst>
                    <a:ext uri="{9D8B030D-6E8A-4147-A177-3AD203B41FA5}">
                      <a16:colId xmlns:a16="http://schemas.microsoft.com/office/drawing/2014/main" val="1261289216"/>
                    </a:ext>
                  </a:extLst>
                </a:gridCol>
              </a:tblGrid>
              <a:tr h="531333">
                <a:tc rowSpan="7">
                  <a:txBody>
                    <a:bodyPr/>
                    <a:lstStyle/>
                    <a:p>
                      <a:pPr algn="l" fontAlgn="ctr"/>
                      <a:r>
                        <a:rPr lang="en-ZA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 Develop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nd for formal businesses is required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641117"/>
                  </a:ext>
                </a:extLst>
              </a:tr>
              <a:tr h="443047">
                <a:tc vMerge="1">
                  <a:txBody>
                    <a:bodyPr/>
                    <a:lstStyle/>
                    <a:p>
                      <a:pPr algn="l" fontAlgn="ctr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Land acquisition and agro-processing for small farmer development</a:t>
                      </a:r>
                      <a:endParaRPr lang="en-GB" sz="24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5624980"/>
                  </a:ext>
                </a:extLst>
              </a:tr>
              <a:tr h="443047">
                <a:tc vMerge="1">
                  <a:txBody>
                    <a:bodyPr/>
                    <a:lstStyle/>
                    <a:p>
                      <a:pPr algn="l" fontAlgn="ctr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lea market and home made produc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7957151"/>
                  </a:ext>
                </a:extLst>
              </a:tr>
              <a:tr h="443047">
                <a:tc vMerge="1">
                  <a:txBody>
                    <a:bodyPr/>
                    <a:lstStyle/>
                    <a:p>
                      <a:pPr algn="l" fontAlgn="ctr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re need for technical training facility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64581658"/>
                  </a:ext>
                </a:extLst>
              </a:tr>
              <a:tr h="834972">
                <a:tc vMerge="1">
                  <a:txBody>
                    <a:bodyPr/>
                    <a:lstStyle/>
                    <a:p>
                      <a:pPr algn="l" fontAlgn="ctr"/>
                      <a:r>
                        <a:rPr lang="en-ZA" sz="1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Economic Development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municipality acknowledges the need for a local office of Home Affair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9849149"/>
                  </a:ext>
                </a:extLst>
              </a:tr>
              <a:tr h="531333">
                <a:tc vMerge="1">
                  <a:txBody>
                    <a:bodyPr/>
                    <a:lstStyle/>
                    <a:p>
                      <a:pPr algn="l" fontAlgn="ctr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he development of an area where local producers can sell local products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24741220"/>
                  </a:ext>
                </a:extLst>
              </a:tr>
              <a:tr h="627939">
                <a:tc vMerge="1">
                  <a:txBody>
                    <a:bodyPr/>
                    <a:lstStyle/>
                    <a:p>
                      <a:pPr algn="l" fontAlgn="ctr"/>
                      <a:endParaRPr lang="en-ZA" sz="1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4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n information board needs to be erected at the entrance of the town</a:t>
                      </a:r>
                    </a:p>
                  </a:txBody>
                  <a:tcPr marL="6350" marR="6350" marT="6350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71930470"/>
                  </a:ext>
                </a:extLst>
              </a:tr>
            </a:tbl>
          </a:graphicData>
        </a:graphic>
      </p:graphicFrame>
      <p:sp>
        <p:nvSpPr>
          <p:cNvPr id="8" name="TextBox 7">
            <a:extLst>
              <a:ext uri="{FF2B5EF4-FFF2-40B4-BE49-F238E27FC236}">
                <a16:creationId xmlns:a16="http://schemas.microsoft.com/office/drawing/2014/main" id="{E6EBCA44-88C3-40C0-8D86-235BA427215F}"/>
              </a:ext>
            </a:extLst>
          </p:cNvPr>
          <p:cNvSpPr txBox="1"/>
          <p:nvPr/>
        </p:nvSpPr>
        <p:spPr>
          <a:xfrm>
            <a:off x="2612951" y="112710"/>
            <a:ext cx="6097772" cy="52322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4 (GOP)</a:t>
            </a: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1937227409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238672" y="-866775"/>
            <a:ext cx="11953328" cy="587627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4 (GOP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028700" marR="0" lvl="1" indent="-571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graphicFrame>
        <p:nvGraphicFramePr>
          <p:cNvPr id="6" name="Table 5">
            <a:extLst>
              <a:ext uri="{FF2B5EF4-FFF2-40B4-BE49-F238E27FC236}">
                <a16:creationId xmlns:a16="http://schemas.microsoft.com/office/drawing/2014/main" id="{D6220757-11CB-46AE-9F82-0250820E2BD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11273383"/>
              </p:ext>
            </p:extLst>
          </p:nvPr>
        </p:nvGraphicFramePr>
        <p:xfrm>
          <a:off x="119335" y="1044172"/>
          <a:ext cx="11953329" cy="5369290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768244">
                  <a:extLst>
                    <a:ext uri="{9D8B030D-6E8A-4147-A177-3AD203B41FA5}">
                      <a16:colId xmlns:a16="http://schemas.microsoft.com/office/drawing/2014/main" val="183089032"/>
                    </a:ext>
                  </a:extLst>
                </a:gridCol>
                <a:gridCol w="9185085">
                  <a:extLst>
                    <a:ext uri="{9D8B030D-6E8A-4147-A177-3AD203B41FA5}">
                      <a16:colId xmlns:a16="http://schemas.microsoft.com/office/drawing/2014/main" val="2771427898"/>
                    </a:ext>
                  </a:extLst>
                </a:gridCol>
              </a:tblGrid>
              <a:tr h="1486545">
                <a:tc>
                  <a:txBody>
                    <a:bodyPr/>
                    <a:lstStyle/>
                    <a:p>
                      <a:pPr algn="l" fontAlgn="ctr"/>
                      <a:r>
                        <a:rPr lang="en-ZA" sz="28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ommunication</a:t>
                      </a:r>
                      <a:endParaRPr lang="en-ZA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8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Develop communication with the public such a </a:t>
                      </a:r>
                      <a:r>
                        <a:rPr lang="en-GB" sz="28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ms</a:t>
                      </a:r>
                      <a:r>
                        <a:rPr lang="en-GB" sz="28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, emails, etc as to inform public on emergencies, service delivery delays, etc</a:t>
                      </a:r>
                      <a:endParaRPr lang="en-GB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3099333"/>
                  </a:ext>
                </a:extLst>
              </a:tr>
              <a:tr h="1971882">
                <a:tc>
                  <a:txBody>
                    <a:bodyPr/>
                    <a:lstStyle/>
                    <a:p>
                      <a:pPr algn="l" fontAlgn="ctr"/>
                      <a:r>
                        <a:rPr lang="en-ZA" sz="28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lient services &amp; Communication</a:t>
                      </a:r>
                      <a:endParaRPr lang="en-ZA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rtl="0" fontAlgn="ctr"/>
                      <a:r>
                        <a:rPr lang="en-GB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lient services not on standard.  Telephone/Reception insufficient and IMIS system ineffective.  Client services official must be more accessible/available for the public &amp; handling of enquiries</a:t>
                      </a:r>
                      <a:br>
                        <a:rPr lang="en-GB" sz="28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</a:br>
                      <a:endParaRPr lang="en-GB" sz="2800" b="0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4774944"/>
                  </a:ext>
                </a:extLst>
              </a:tr>
              <a:tr h="1742795">
                <a:tc>
                  <a:txBody>
                    <a:bodyPr/>
                    <a:lstStyle/>
                    <a:p>
                      <a:pPr algn="l" fontAlgn="ctr"/>
                      <a:r>
                        <a:rPr lang="en-ZA" sz="28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T</a:t>
                      </a:r>
                      <a:endParaRPr lang="en-ZA" sz="28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en-GB" sz="28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ree </a:t>
                      </a:r>
                      <a:r>
                        <a:rPr lang="en-GB" sz="28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fi</a:t>
                      </a:r>
                      <a:r>
                        <a:rPr lang="en-GB" sz="28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- The municipality does not have funding to implement free </a:t>
                      </a:r>
                      <a:r>
                        <a:rPr lang="en-GB" sz="2800" u="none" strike="noStrike" dirty="0" err="1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ifi</a:t>
                      </a:r>
                      <a:r>
                        <a:rPr lang="en-GB" sz="2800" u="none" strike="noStrike" dirty="0"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.  To be considered urgently. </a:t>
                      </a:r>
                      <a:endParaRPr lang="en-GB" sz="2800" b="1" i="0" u="none" strike="noStrike" dirty="0">
                        <a:solidFill>
                          <a:srgbClr val="0070C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350" marR="6350" marT="6350" marB="0" anchor="ctr">
                    <a:solidFill>
                      <a:schemeClr val="tx2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6101011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505350113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238672" y="-866775"/>
            <a:ext cx="11953328" cy="5876279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r>
              <a:rPr kumimoji="0" lang="en-GB" sz="40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BEHOEFTES VAN WYK 4 (GOP)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 panose="020F0502020204030204" pitchFamily="34" charset="0"/>
              <a:ea typeface="+mn-ea"/>
              <a:cs typeface="+mn-cs"/>
            </a:endParaRPr>
          </a:p>
          <a:p>
            <a:pPr marL="1028700" marR="0" lvl="1" indent="-571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002060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endParaRPr kumimoji="0" lang="en-GB" sz="4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2D594FBE-18F3-42A9-AC95-7ED8B393773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133595" y="1974978"/>
            <a:ext cx="11924810" cy="3187572"/>
          </a:xfrm>
          <a:prstGeom prst="rect">
            <a:avLst/>
          </a:prstGeom>
        </p:spPr>
      </p:pic>
    </p:spTree>
    <p:custDataLst>
      <p:tags r:id="rId1"/>
    </p:custDataLst>
    <p:extLst>
      <p:ext uri="{BB962C8B-B14F-4D97-AF65-F5344CB8AC3E}">
        <p14:creationId xmlns:p14="http://schemas.microsoft.com/office/powerpoint/2010/main" val="3164046753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>
          <a:xfrm>
            <a:off x="1653988" y="2312894"/>
            <a:ext cx="7046259" cy="3092824"/>
          </a:xfrm>
          <a:solidFill>
            <a:schemeClr val="accent1">
              <a:lumMod val="75000"/>
            </a:schemeClr>
          </a:solidFill>
        </p:spPr>
        <p:txBody>
          <a:bodyPr>
            <a:normAutofit fontScale="90000"/>
          </a:bodyPr>
          <a:lstStyle/>
          <a:p>
            <a:r>
              <a:rPr lang="en-US" dirty="0" err="1"/>
              <a:t>Stuur</a:t>
            </a:r>
            <a:r>
              <a:rPr lang="en-US" dirty="0"/>
              <a:t> u </a:t>
            </a:r>
            <a:r>
              <a:rPr lang="en-US" dirty="0" err="1"/>
              <a:t>kommentaar</a:t>
            </a:r>
            <a:r>
              <a:rPr lang="en-US" dirty="0"/>
              <a:t> </a:t>
            </a:r>
            <a:r>
              <a:rPr lang="en-US" dirty="0" err="1"/>
              <a:t>na</a:t>
            </a:r>
            <a:r>
              <a:rPr lang="en-US" dirty="0"/>
              <a:t> </a:t>
            </a:r>
            <a:r>
              <a:rPr lang="en-US" dirty="0">
                <a:ln w="0">
                  <a:solidFill>
                    <a:schemeClr val="bg1"/>
                  </a:solidFill>
                </a:ln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b@bergmun.org.za</a:t>
            </a:r>
            <a:r>
              <a:rPr lang="en-US" dirty="0">
                <a:ln w="0">
                  <a:solidFill>
                    <a:schemeClr val="bg1"/>
                  </a:solidFill>
                </a:ln>
              </a:rPr>
              <a:t> of </a:t>
            </a:r>
            <a:r>
              <a:rPr lang="en-US" u="sng" dirty="0">
                <a:ln w="0">
                  <a:solidFill>
                    <a:schemeClr val="bg1"/>
                  </a:solidFill>
                </a:ln>
              </a:rPr>
              <a:t>cfo@bergmun.org.za</a:t>
            </a:r>
            <a:r>
              <a:rPr lang="en-US" u="sng" dirty="0">
                <a:ln>
                  <a:solidFill>
                    <a:schemeClr val="bg1"/>
                  </a:solidFill>
                </a:ln>
                <a:noFill/>
              </a:rPr>
              <a:t> </a:t>
            </a:r>
            <a:r>
              <a:rPr lang="en-US" dirty="0" err="1"/>
              <a:t>voor</a:t>
            </a:r>
            <a:r>
              <a:rPr lang="en-US" dirty="0"/>
              <a:t> 5 Mei 2022</a:t>
            </a:r>
            <a:endParaRPr lang="en-US" sz="3600" b="1" i="1" dirty="0"/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8633012" y="94129"/>
            <a:ext cx="1434353" cy="1613647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2971800" y="551329"/>
            <a:ext cx="5419165" cy="70788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4000" b="1" i="0" u="none" strike="noStrike" kern="1200" cap="none" spc="0" normalizeH="0" baseline="0" noProof="0" dirty="0">
                <a:ln>
                  <a:noFill/>
                </a:ln>
                <a:solidFill>
                  <a:srgbClr val="4D3E2F"/>
                </a:solidFill>
                <a:effectLst/>
                <a:uLnTx/>
                <a:uFillTx/>
                <a:latin typeface="Corbel" panose="020B0503020204020204"/>
                <a:ea typeface="+mn-ea"/>
                <a:cs typeface="+mn-cs"/>
              </a:rPr>
              <a:t>ONS DIEN MET TROTS</a:t>
            </a:r>
          </a:p>
        </p:txBody>
      </p:sp>
    </p:spTree>
    <p:extLst>
      <p:ext uri="{BB962C8B-B14F-4D97-AF65-F5344CB8AC3E}">
        <p14:creationId xmlns:p14="http://schemas.microsoft.com/office/powerpoint/2010/main" val="29682355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10"/>
          <p:cNvSpPr>
            <a:spLocks noGrp="1"/>
          </p:cNvSpPr>
          <p:nvPr>
            <p:ph type="ctrTitle"/>
          </p:nvPr>
        </p:nvSpPr>
        <p:spPr>
          <a:xfrm>
            <a:off x="263352" y="1412776"/>
            <a:ext cx="11662043" cy="1152128"/>
          </a:xfrm>
        </p:spPr>
        <p:txBody>
          <a:bodyPr anchor="t">
            <a:noAutofit/>
          </a:bodyPr>
          <a:lstStyle/>
          <a:p>
            <a:pPr algn="ctr">
              <a:lnSpc>
                <a:spcPct val="150000"/>
              </a:lnSpc>
            </a:pPr>
            <a:r>
              <a:rPr lang="en-GB" sz="4000" dirty="0">
                <a:solidFill>
                  <a:schemeClr val="tx1"/>
                </a:solidFill>
              </a:rPr>
              <a:t>MUNICIPALITY  ●  BERGRIVIER  ●  MUNISIPALITEIT</a:t>
            </a:r>
          </a:p>
        </p:txBody>
      </p:sp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013176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59075" y="5013177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91100" y="5013176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132637" y="5013176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3" y="5013176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685384" y="2276872"/>
            <a:ext cx="10945216" cy="1728192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pic>
        <p:nvPicPr>
          <p:cNvPr id="2" name="Picture 1"/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11111879" y="0"/>
            <a:ext cx="1080120" cy="1400193"/>
          </a:xfrm>
          <a:prstGeom prst="rect">
            <a:avLst/>
          </a:prstGeom>
        </p:spPr>
      </p:pic>
      <p:sp>
        <p:nvSpPr>
          <p:cNvPr id="3" name="Rectangle 2"/>
          <p:cNvSpPr/>
          <p:nvPr/>
        </p:nvSpPr>
        <p:spPr>
          <a:xfrm>
            <a:off x="897924" y="2856274"/>
            <a:ext cx="10466658" cy="104644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DRAFT BUDGET 2022/2023 FINANCIAL INFORMATION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1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entury Gothic"/>
                <a:ea typeface="+mn-ea"/>
                <a:cs typeface="+mn-cs"/>
              </a:rPr>
              <a:t>KONSEPBEGROTING 2022/2023 FINANSIËLE INLIGTING</a:t>
            </a:r>
            <a:endParaRPr kumimoji="0" lang="en-ZA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entury Gothic"/>
              <a:ea typeface="+mn-ea"/>
              <a:cs typeface="+mn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95247827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Placeholder 16"/>
          <p:cNvPicPr>
            <a:picLocks noGrp="1" noChangeAspect="1"/>
          </p:cNvPicPr>
          <p:nvPr>
            <p:ph type="pic" sz="quarter" idx="12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00" b="5700"/>
          <a:stretch>
            <a:fillRect/>
          </a:stretch>
        </p:blipFill>
        <p:spPr>
          <a:xfrm>
            <a:off x="0" y="5322887"/>
            <a:ext cx="2759075" cy="1535113"/>
          </a:xfrm>
        </p:spPr>
      </p:pic>
      <p:pic>
        <p:nvPicPr>
          <p:cNvPr id="18" name="Picture Placeholder 17"/>
          <p:cNvPicPr>
            <a:picLocks noGrp="1" noChangeAspect="1"/>
          </p:cNvPicPr>
          <p:nvPr>
            <p:ph type="pic" sz="quarter" idx="13"/>
          </p:nvPr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532" r="1532"/>
          <a:stretch>
            <a:fillRect/>
          </a:stretch>
        </p:blipFill>
        <p:spPr>
          <a:xfrm>
            <a:off x="2785969" y="5322888"/>
            <a:ext cx="2232025" cy="1535112"/>
          </a:xfrm>
        </p:spPr>
      </p:pic>
      <p:pic>
        <p:nvPicPr>
          <p:cNvPr id="19" name="Picture Placeholder 18"/>
          <p:cNvPicPr>
            <a:picLocks noGrp="1" noChangeAspect="1"/>
          </p:cNvPicPr>
          <p:nvPr>
            <p:ph type="pic" sz="quarter" idx="14"/>
          </p:nvPr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3542" b="23542"/>
          <a:stretch>
            <a:fillRect/>
          </a:stretch>
        </p:blipFill>
        <p:spPr>
          <a:xfrm>
            <a:off x="4991100" y="5325901"/>
            <a:ext cx="2141538" cy="1532099"/>
          </a:xfrm>
        </p:spPr>
      </p:pic>
      <p:pic>
        <p:nvPicPr>
          <p:cNvPr id="21" name="Picture Placeholder 20"/>
          <p:cNvPicPr>
            <a:picLocks noGrp="1" noChangeAspect="1"/>
          </p:cNvPicPr>
          <p:nvPr>
            <p:ph type="pic" sz="quarter" idx="15"/>
          </p:nvPr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5241" r="5241"/>
          <a:stretch>
            <a:fillRect/>
          </a:stretch>
        </p:blipFill>
        <p:spPr>
          <a:xfrm>
            <a:off x="7132637" y="5326063"/>
            <a:ext cx="2232025" cy="1531937"/>
          </a:xfrm>
        </p:spPr>
      </p:pic>
      <p:pic>
        <p:nvPicPr>
          <p:cNvPr id="20" name="Picture Placeholder 19"/>
          <p:cNvPicPr>
            <a:picLocks noGrp="1" noChangeAspect="1"/>
          </p:cNvPicPr>
          <p:nvPr>
            <p:ph type="pic" sz="quarter" idx="16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364664" y="5326063"/>
            <a:ext cx="2827336" cy="1531937"/>
          </a:xfrm>
        </p:spPr>
      </p:pic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1970367" y="362596"/>
            <a:ext cx="8451288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ALGEMENE OORSIG VAN MUNISIPALE FINANSIES</a:t>
            </a:r>
          </a:p>
        </p:txBody>
      </p:sp>
      <p:graphicFrame>
        <p:nvGraphicFramePr>
          <p:cNvPr id="3" name="Table 3">
            <a:extLst>
              <a:ext uri="{FF2B5EF4-FFF2-40B4-BE49-F238E27FC236}">
                <a16:creationId xmlns:a16="http://schemas.microsoft.com/office/drawing/2014/main" id="{013A9651-EEA7-461F-997B-293B1406B88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03802668"/>
              </p:ext>
            </p:extLst>
          </p:nvPr>
        </p:nvGraphicFramePr>
        <p:xfrm>
          <a:off x="523876" y="1380734"/>
          <a:ext cx="11210925" cy="350559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736975">
                  <a:extLst>
                    <a:ext uri="{9D8B030D-6E8A-4147-A177-3AD203B41FA5}">
                      <a16:colId xmlns:a16="http://schemas.microsoft.com/office/drawing/2014/main" val="858454169"/>
                    </a:ext>
                  </a:extLst>
                </a:gridCol>
                <a:gridCol w="3736975">
                  <a:extLst>
                    <a:ext uri="{9D8B030D-6E8A-4147-A177-3AD203B41FA5}">
                      <a16:colId xmlns:a16="http://schemas.microsoft.com/office/drawing/2014/main" val="4215171624"/>
                    </a:ext>
                  </a:extLst>
                </a:gridCol>
                <a:gridCol w="3736975">
                  <a:extLst>
                    <a:ext uri="{9D8B030D-6E8A-4147-A177-3AD203B41FA5}">
                      <a16:colId xmlns:a16="http://schemas.microsoft.com/office/drawing/2014/main" val="2846562851"/>
                    </a:ext>
                  </a:extLst>
                </a:gridCol>
              </a:tblGrid>
              <a:tr h="1168530">
                <a:tc>
                  <a:txBody>
                    <a:bodyPr/>
                    <a:lstStyle/>
                    <a:p>
                      <a:pPr algn="ctr"/>
                      <a:r>
                        <a:rPr lang="en-ZA" sz="3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KOMSTE</a:t>
                      </a:r>
                    </a:p>
                  </a:txBody>
                  <a:tcPr anchor="ctr"/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en-ZA" sz="36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ITGAWE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 sz="3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62358124"/>
                  </a:ext>
                </a:extLst>
              </a:tr>
              <a:tr h="1168530">
                <a:tc>
                  <a:txBody>
                    <a:bodyPr/>
                    <a:lstStyle/>
                    <a:p>
                      <a:r>
                        <a:rPr kumimoji="0" lang="en-ZA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  494,861,665 </a:t>
                      </a:r>
                      <a:endParaRPr lang="en-ZA" sz="3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ZA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  74,967,566 </a:t>
                      </a:r>
                      <a:endParaRPr lang="en-ZA" sz="3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3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pitaalbegroting</a:t>
                      </a:r>
                      <a:endParaRPr lang="en-ZA" sz="3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0636682"/>
                  </a:ext>
                </a:extLst>
              </a:tr>
              <a:tr h="1168530">
                <a:tc>
                  <a:txBody>
                    <a:bodyPr/>
                    <a:lstStyle/>
                    <a:p>
                      <a:endParaRPr lang="en-ZA" sz="3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kumimoji="0" lang="en-ZA" sz="3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R  493,616,273 </a:t>
                      </a:r>
                      <a:endParaRPr lang="en-ZA" sz="3600" dirty="0">
                        <a:solidFill>
                          <a:schemeClr val="tx1"/>
                        </a:solidFill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ZA" sz="36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Bedryfsbegroting</a:t>
                      </a:r>
                      <a:endParaRPr lang="en-ZA" sz="36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28865443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8224782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3" name="Table 4">
            <a:extLst>
              <a:ext uri="{FF2B5EF4-FFF2-40B4-BE49-F238E27FC236}">
                <a16:creationId xmlns:a16="http://schemas.microsoft.com/office/drawing/2014/main" id="{68662440-CCD5-4F30-AEFE-556DCBA57ED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24437171"/>
              </p:ext>
            </p:extLst>
          </p:nvPr>
        </p:nvGraphicFramePr>
        <p:xfrm>
          <a:off x="1544320" y="213360"/>
          <a:ext cx="9723119" cy="6421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6259576">
                  <a:extLst>
                    <a:ext uri="{9D8B030D-6E8A-4147-A177-3AD203B41FA5}">
                      <a16:colId xmlns:a16="http://schemas.microsoft.com/office/drawing/2014/main" val="1288111138"/>
                    </a:ext>
                  </a:extLst>
                </a:gridCol>
                <a:gridCol w="2043706">
                  <a:extLst>
                    <a:ext uri="{9D8B030D-6E8A-4147-A177-3AD203B41FA5}">
                      <a16:colId xmlns:a16="http://schemas.microsoft.com/office/drawing/2014/main" val="2720098876"/>
                    </a:ext>
                  </a:extLst>
                </a:gridCol>
                <a:gridCol w="1419837">
                  <a:extLst>
                    <a:ext uri="{9D8B030D-6E8A-4147-A177-3AD203B41FA5}">
                      <a16:colId xmlns:a16="http://schemas.microsoft.com/office/drawing/2014/main" val="1885895160"/>
                    </a:ext>
                  </a:extLst>
                </a:gridCol>
              </a:tblGrid>
              <a:tr h="583739">
                <a:tc gridSpan="3"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ZA" sz="2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TOTALE KAPITAALBESTEDING: R  74,967,566 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ZA" sz="24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9839967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i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tervoorsiening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1 470 435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14817115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iolering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710 053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930390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Paaie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stormwat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 035 078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2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77220899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port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ntspanning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10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1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9333681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ervoerbates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7 31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0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62559454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lektrisiteit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12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3005088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Kantoormeubels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toerusting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302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8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52609324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boue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en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siliteite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 28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78018950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Gemeenskap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/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osiale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fasiliteite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2 015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5508493"/>
                  </a:ext>
                </a:extLst>
              </a:tr>
              <a:tr h="583739">
                <a:tc>
                  <a:txBody>
                    <a:bodyPr/>
                    <a:lstStyle/>
                    <a:p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nfrastruktuur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: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Vaste</a:t>
                      </a:r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</a:t>
                      </a:r>
                      <a:r>
                        <a:rPr lang="en-ZA" sz="2800" dirty="0" err="1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fval</a:t>
                      </a:r>
                      <a:endParaRPr lang="en-ZA" sz="2800" dirty="0"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20 000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en-ZA" sz="2800" dirty="0"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1 %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92452944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266376428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CBEC776B-2AA8-4D12-8671-B3A2DD6E09A6}"/>
              </a:ext>
            </a:extLst>
          </p:cNvPr>
          <p:cNvSpPr txBox="1">
            <a:spLocks/>
          </p:cNvSpPr>
          <p:nvPr/>
        </p:nvSpPr>
        <p:spPr>
          <a:xfrm>
            <a:off x="2255269" y="0"/>
            <a:ext cx="7442790" cy="792748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6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cs typeface="Calibri" panose="020F0502020204030204" pitchFamily="34" charset="0"/>
              </a:rPr>
              <a:t>WAAR KRY ONS DIE FONDSE?</a:t>
            </a:r>
          </a:p>
        </p:txBody>
      </p:sp>
      <p:graphicFrame>
        <p:nvGraphicFramePr>
          <p:cNvPr id="9" name="Chart 8">
            <a:extLst>
              <a:ext uri="{FF2B5EF4-FFF2-40B4-BE49-F238E27FC236}">
                <a16:creationId xmlns:a16="http://schemas.microsoft.com/office/drawing/2014/main" id="{5158841B-F64F-4940-90AD-3E88406817F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990720088"/>
              </p:ext>
            </p:extLst>
          </p:nvPr>
        </p:nvGraphicFramePr>
        <p:xfrm>
          <a:off x="609600" y="554001"/>
          <a:ext cx="10972800" cy="602515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81374184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608780" y="-13275"/>
            <a:ext cx="4742004" cy="52322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APITAALPROJEKTE VIR WYK 4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9036622-2C94-46F3-9FCB-68DBABD111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64934953"/>
              </p:ext>
            </p:extLst>
          </p:nvPr>
        </p:nvGraphicFramePr>
        <p:xfrm>
          <a:off x="-1" y="509945"/>
          <a:ext cx="12192001" cy="6286687"/>
        </p:xfrm>
        <a:graphic>
          <a:graphicData uri="http://schemas.openxmlformats.org/drawingml/2006/table">
            <a:tbl>
              <a:tblPr/>
              <a:tblGrid>
                <a:gridCol w="3913264">
                  <a:extLst>
                    <a:ext uri="{9D8B030D-6E8A-4147-A177-3AD203B41FA5}">
                      <a16:colId xmlns:a16="http://schemas.microsoft.com/office/drawing/2014/main" val="900574496"/>
                    </a:ext>
                  </a:extLst>
                </a:gridCol>
                <a:gridCol w="1817936">
                  <a:extLst>
                    <a:ext uri="{9D8B030D-6E8A-4147-A177-3AD203B41FA5}">
                      <a16:colId xmlns:a16="http://schemas.microsoft.com/office/drawing/2014/main" val="1071745429"/>
                    </a:ext>
                  </a:extLst>
                </a:gridCol>
                <a:gridCol w="1916969">
                  <a:extLst>
                    <a:ext uri="{9D8B030D-6E8A-4147-A177-3AD203B41FA5}">
                      <a16:colId xmlns:a16="http://schemas.microsoft.com/office/drawing/2014/main" val="1557526924"/>
                    </a:ext>
                  </a:extLst>
                </a:gridCol>
                <a:gridCol w="2004885">
                  <a:extLst>
                    <a:ext uri="{9D8B030D-6E8A-4147-A177-3AD203B41FA5}">
                      <a16:colId xmlns:a16="http://schemas.microsoft.com/office/drawing/2014/main" val="3632113797"/>
                    </a:ext>
                  </a:extLst>
                </a:gridCol>
                <a:gridCol w="2538947">
                  <a:extLst>
                    <a:ext uri="{9D8B030D-6E8A-4147-A177-3AD203B41FA5}">
                      <a16:colId xmlns:a16="http://schemas.microsoft.com/office/drawing/2014/main" val="829561733"/>
                    </a:ext>
                  </a:extLst>
                </a:gridCol>
              </a:tblGrid>
              <a:tr h="310748"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OWN DESCRIPTION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BUD 22/23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BUD 23/24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 BUD 24/25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</a:rPr>
                        <a:t>WARD/ COMMENT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485839"/>
                  </a:ext>
                </a:extLst>
              </a:tr>
              <a:tr h="536808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umps (standby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5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f required (whole Piketberg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36936301"/>
                  </a:ext>
                </a:extLst>
              </a:tr>
              <a:tr h="300866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Reservoir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8 5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72795991"/>
                  </a:ext>
                </a:extLst>
              </a:tr>
              <a:tr h="536808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Reservoir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2 91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nl-NL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k 3 en 4 - (whole Piketberg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83275395"/>
                  </a:ext>
                </a:extLst>
              </a:tr>
              <a:tr h="536808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ater Renewals (EL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8 775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 0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5 0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k  3 &amp; 4 - (Pipe Cracking - Priority list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0530743"/>
                  </a:ext>
                </a:extLst>
              </a:tr>
              <a:tr h="595794">
                <a:tc>
                  <a:txBody>
                    <a:bodyPr/>
                    <a:lstStyle/>
                    <a:p>
                      <a:pPr algn="l" fontAlgn="b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medial works on Roads - PB Industrial Area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5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83139359"/>
                  </a:ext>
                </a:extLst>
              </a:tr>
              <a:tr h="300866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Upgrade Side walks (PB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1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3071043"/>
                  </a:ext>
                </a:extLst>
              </a:tr>
              <a:tr h="595794">
                <a:tc>
                  <a:txBody>
                    <a:bodyPr/>
                    <a:lstStyle/>
                    <a:p>
                      <a:pPr algn="l" fontAlgn="b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Remedial works on Roads - </a:t>
                      </a:r>
                      <a:r>
                        <a:rPr lang="en-GB" sz="1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ulemberg</a:t>
                      </a:r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Road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55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5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3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49846659"/>
                  </a:ext>
                </a:extLst>
              </a:tr>
              <a:tr h="300866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B Sidewalks (low-cost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2 257 398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4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12344813"/>
                  </a:ext>
                </a:extLst>
              </a:tr>
              <a:tr h="300866">
                <a:tc>
                  <a:txBody>
                    <a:bodyPr/>
                    <a:lstStyle/>
                    <a:p>
                      <a:pPr algn="l" fontAlgn="b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Construction of roads: RDP Houses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3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k 4 (Pave gravel roads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25427717"/>
                  </a:ext>
                </a:extLst>
              </a:tr>
              <a:tr h="300866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Munisipale </a:t>
                      </a:r>
                      <a:r>
                        <a:rPr lang="en-ZA" sz="1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ienste</a:t>
                      </a:r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</a:t>
                      </a:r>
                      <a:r>
                        <a:rPr lang="en-ZA" sz="17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ntwikkeling</a:t>
                      </a:r>
                      <a:endParaRPr lang="en-ZA" sz="17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2 5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5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k 4 (Aloe Street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964932"/>
                  </a:ext>
                </a:extLst>
              </a:tr>
              <a:tr h="536808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High tension circuit breakers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7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5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4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required in whole of Bergrivier (Ward ¾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49812312"/>
                  </a:ext>
                </a:extLst>
              </a:tr>
              <a:tr h="536808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ulk meter replacement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1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5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7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As required in whole of Bergrivier (Ward ¾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0114984"/>
                  </a:ext>
                </a:extLst>
              </a:tr>
              <a:tr h="595794"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Bergrivier Bulk Services Upgrade/RDP Houses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  4 347 826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     4 543 478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17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Wyk 2 &amp; 4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059968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334858708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2" name="Rectangle 1"/>
          <p:cNvSpPr/>
          <p:nvPr/>
        </p:nvSpPr>
        <p:spPr>
          <a:xfrm>
            <a:off x="3402121" y="0"/>
            <a:ext cx="5387757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3200" b="1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 panose="020F0502020204030204" pitchFamily="34" charset="0"/>
                <a:ea typeface="+mn-ea"/>
                <a:cs typeface="+mn-cs"/>
              </a:rPr>
              <a:t>KAPITAALPROJEKTE VIR WYK 4</a:t>
            </a: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C9036622-2C94-46F3-9FCB-68DBABD1113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905100932"/>
              </p:ext>
            </p:extLst>
          </p:nvPr>
        </p:nvGraphicFramePr>
        <p:xfrm>
          <a:off x="47624" y="550425"/>
          <a:ext cx="12096750" cy="6411199"/>
        </p:xfrm>
        <a:graphic>
          <a:graphicData uri="http://schemas.openxmlformats.org/drawingml/2006/table">
            <a:tbl>
              <a:tblPr/>
              <a:tblGrid>
                <a:gridCol w="3433513">
                  <a:extLst>
                    <a:ext uri="{9D8B030D-6E8A-4147-A177-3AD203B41FA5}">
                      <a16:colId xmlns:a16="http://schemas.microsoft.com/office/drawing/2014/main" val="900574496"/>
                    </a:ext>
                  </a:extLst>
                </a:gridCol>
                <a:gridCol w="1989221">
                  <a:extLst>
                    <a:ext uri="{9D8B030D-6E8A-4147-A177-3AD203B41FA5}">
                      <a16:colId xmlns:a16="http://schemas.microsoft.com/office/drawing/2014/main" val="1071745429"/>
                    </a:ext>
                  </a:extLst>
                </a:gridCol>
                <a:gridCol w="1812758">
                  <a:extLst>
                    <a:ext uri="{9D8B030D-6E8A-4147-A177-3AD203B41FA5}">
                      <a16:colId xmlns:a16="http://schemas.microsoft.com/office/drawing/2014/main" val="1557526924"/>
                    </a:ext>
                  </a:extLst>
                </a:gridCol>
                <a:gridCol w="1652337">
                  <a:extLst>
                    <a:ext uri="{9D8B030D-6E8A-4147-A177-3AD203B41FA5}">
                      <a16:colId xmlns:a16="http://schemas.microsoft.com/office/drawing/2014/main" val="3632113797"/>
                    </a:ext>
                  </a:extLst>
                </a:gridCol>
                <a:gridCol w="3208921">
                  <a:extLst>
                    <a:ext uri="{9D8B030D-6E8A-4147-A177-3AD203B41FA5}">
                      <a16:colId xmlns:a16="http://schemas.microsoft.com/office/drawing/2014/main" val="829561733"/>
                    </a:ext>
                  </a:extLst>
                </a:gridCol>
              </a:tblGrid>
              <a:tr h="335462"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OWN DESCRIPTION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UD 22/23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UD 23/24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BUD 24/25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1" i="0" u="none" strike="noStrike" dirty="0">
                          <a:solidFill>
                            <a:schemeClr val="bg1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ARD/ COMMENT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2485839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etro-fit main substation oil circuit breakers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1 0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5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5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8220089"/>
                  </a:ext>
                </a:extLst>
              </a:tr>
              <a:tr h="540000"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Roads and stormwater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984 073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hole of Piketberg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7193548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Network Renewals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7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4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45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 required in whole of Bergrivier (Ward 4 ± R 200 000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8178642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curity of electrical assets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7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1 0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5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As required in whole of Bergrivier (Ward 4 ± R 200 000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52959441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l" fontAlgn="b"/>
                      <a:r>
                        <a:rPr lang="en-ZA" sz="1800" kern="1200" dirty="0">
                          <a:solidFill>
                            <a:schemeClr val="tx1"/>
                          </a:solidFill>
                          <a:effectLst/>
                          <a:latin typeface="Calibri" panose="020F0502020204030204" pitchFamily="34" charset="0"/>
                          <a:ea typeface="+mn-ea"/>
                          <a:cs typeface="Calibri" panose="020F0502020204030204" pitchFamily="34" charset="0"/>
                        </a:rPr>
                        <a:t>Security municipal offices PB </a:t>
                      </a:r>
                      <a:endParaRPr lang="en-ZA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1 5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3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98590"/>
                  </a:ext>
                </a:extLst>
              </a:tr>
              <a:tr h="612000"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Upgrade Refuse building - PB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3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2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3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, Change old abattoir into stores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6750705"/>
                  </a:ext>
                </a:extLst>
              </a:tr>
              <a:tr h="576000"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ecurity Fence at Irrigation dam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4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, Started to fence dam at golf course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30627740"/>
                  </a:ext>
                </a:extLst>
              </a:tr>
              <a:tr h="335462"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Subsurface Drains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75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              -  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4, At </a:t>
                      </a:r>
                      <a:r>
                        <a:rPr lang="en-GB" sz="2000" b="0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cemetry</a:t>
                      </a:r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No 2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80333317"/>
                  </a:ext>
                </a:extLst>
              </a:tr>
              <a:tr h="900000"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Implement Stormwater Masterplan (PB)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35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  2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ZA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        200 000,00 </a:t>
                      </a: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en-GB" sz="20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Wyk 3 &amp; 4 (Start to execute master plans - Total ± R 90x10</a:t>
                      </a:r>
                      <a:r>
                        <a:rPr lang="en-GB" sz="2000" b="0" i="0" u="none" strike="noStrike" baseline="30000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  <a:cs typeface="Calibri" panose="020F0502020204030204" pitchFamily="34" charset="0"/>
                        </a:rPr>
                        <a:t>6</a:t>
                      </a:r>
                      <a:endParaRPr lang="en-GB" sz="20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6135" marR="6135" marT="613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977875"/>
                  </a:ext>
                </a:extLst>
              </a:tr>
            </a:tbl>
          </a:graphicData>
        </a:graphic>
      </p:graphicFrame>
    </p:spTree>
    <p:custDataLst>
      <p:tags r:id="rId1"/>
    </p:custDataLst>
    <p:extLst>
      <p:ext uri="{BB962C8B-B14F-4D97-AF65-F5344CB8AC3E}">
        <p14:creationId xmlns:p14="http://schemas.microsoft.com/office/powerpoint/2010/main" val="139875258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40729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Subtitle 7"/>
          <p:cNvSpPr txBox="1">
            <a:spLocks/>
          </p:cNvSpPr>
          <p:nvPr/>
        </p:nvSpPr>
        <p:spPr>
          <a:xfrm>
            <a:off x="0" y="1143000"/>
            <a:ext cx="11953328" cy="4334266"/>
          </a:xfrm>
          <a:prstGeom prst="rect">
            <a:avLst/>
          </a:prstGeom>
        </p:spPr>
        <p:txBody>
          <a:bodyPr vert="horz" lIns="72000" tIns="0" rIns="72000" bIns="0" rtlCol="0" anchor="ctr">
            <a:normAutofit/>
          </a:bodyPr>
          <a:lstStyle>
            <a:lvl1pPr marL="0" indent="0" algn="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2000" b="0" kern="1200">
                <a:solidFill>
                  <a:schemeClr val="bg1"/>
                </a:solidFill>
                <a:latin typeface="Century Gothic" pitchFamily="34" charset="0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spcBef>
                <a:spcPts val="300"/>
              </a:spcBef>
              <a:buClr>
                <a:srgbClr val="002060"/>
              </a:buClr>
              <a:buFontTx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lang="en-US"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spcBef>
                <a:spcPts val="300"/>
              </a:spcBef>
              <a:buClr>
                <a:schemeClr val="accent3"/>
              </a:buClr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Century Gothic" pitchFamily="34" charset="0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spcBef>
                <a:spcPts val="300"/>
              </a:spcBef>
              <a:buFont typeface="Arial" pitchFamily="34" charset="0"/>
              <a:buNone/>
              <a:defRPr sz="1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spcBef>
                <a:spcPct val="20000"/>
              </a:spcBef>
              <a:buFont typeface="Arial" pitchFamily="34" charset="0"/>
              <a:buNone/>
              <a:defRPr sz="20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GB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Tx/>
              <a:buFont typeface="Arial" pitchFamily="34" charset="0"/>
              <a:buNone/>
              <a:tabLst/>
              <a:defRPr/>
            </a:pPr>
            <a:endParaRPr kumimoji="0" lang="en-ZA" sz="36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itchFamily="34" charset="0"/>
              <a:ea typeface="+mn-ea"/>
              <a:cs typeface="+mn-cs"/>
            </a:endParaRPr>
          </a:p>
        </p:txBody>
      </p:sp>
      <p:sp>
        <p:nvSpPr>
          <p:cNvPr id="8" name="Title 4">
            <a:extLst>
              <a:ext uri="{FF2B5EF4-FFF2-40B4-BE49-F238E27FC236}">
                <a16:creationId xmlns:a16="http://schemas.microsoft.com/office/drawing/2014/main" id="{A5A55EE5-FEE7-4FD5-9F9E-4B473A535CC5}"/>
              </a:ext>
            </a:extLst>
          </p:cNvPr>
          <p:cNvSpPr txBox="1">
            <a:spLocks/>
          </p:cNvSpPr>
          <p:nvPr/>
        </p:nvSpPr>
        <p:spPr>
          <a:xfrm>
            <a:off x="1626781" y="68489"/>
            <a:ext cx="8420986" cy="611532"/>
          </a:xfrm>
          <a:prstGeom prst="rect">
            <a:avLst/>
          </a:prstGeom>
          <a:ln>
            <a:solidFill>
              <a:srgbClr val="5B9BD5">
                <a:lumMod val="75000"/>
              </a:srgbClr>
            </a:solidFill>
          </a:ln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  <p:cxnSp>
        <p:nvCxnSpPr>
          <p:cNvPr id="4" name="Straight Connector 3">
            <a:extLst>
              <a:ext uri="{FF2B5EF4-FFF2-40B4-BE49-F238E27FC236}">
                <a16:creationId xmlns:a16="http://schemas.microsoft.com/office/drawing/2014/main" id="{DB284D48-B5F2-4C52-8F58-F5664E97B410}"/>
              </a:ext>
            </a:extLst>
          </p:cNvPr>
          <p:cNvCxnSpPr/>
          <p:nvPr/>
        </p:nvCxnSpPr>
        <p:spPr>
          <a:xfrm flipH="1" flipV="1">
            <a:off x="5448300" y="5715000"/>
            <a:ext cx="1057275" cy="523875"/>
          </a:xfrm>
          <a:prstGeom prst="line">
            <a:avLst/>
          </a:prstGeom>
          <a:ln w="635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9932C9DD-4A9A-4065-B1B2-A4642C71F78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29077881"/>
              </p:ext>
            </p:extLst>
          </p:nvPr>
        </p:nvGraphicFramePr>
        <p:xfrm>
          <a:off x="238672" y="514351"/>
          <a:ext cx="11714656" cy="615315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sp>
        <p:nvSpPr>
          <p:cNvPr id="7" name="Title 4">
            <a:extLst>
              <a:ext uri="{FF2B5EF4-FFF2-40B4-BE49-F238E27FC236}">
                <a16:creationId xmlns:a16="http://schemas.microsoft.com/office/drawing/2014/main" id="{D9A7C1C6-855E-4279-8D5C-4935B93B6E9D}"/>
              </a:ext>
            </a:extLst>
          </p:cNvPr>
          <p:cNvSpPr txBox="1">
            <a:spLocks/>
          </p:cNvSpPr>
          <p:nvPr/>
        </p:nvSpPr>
        <p:spPr>
          <a:xfrm>
            <a:off x="1837660" y="68489"/>
            <a:ext cx="8516680" cy="526934"/>
          </a:xfrm>
          <a:prstGeom prst="rect">
            <a:avLst/>
          </a:prstGeom>
          <a:ln>
            <a:solidFill>
              <a:schemeClr val="bg1"/>
            </a:solidFill>
          </a:ln>
        </p:spPr>
        <p:txBody>
          <a:bodyPr>
            <a:normAutofit fontScale="97500"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ZA" sz="2800" b="1" i="0" u="none" strike="noStrike" kern="1200" cap="none" spc="0" normalizeH="0" baseline="0" noProof="0" dirty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Calibri Light" panose="020F0302020204030204"/>
                <a:ea typeface="+mj-ea"/>
                <a:cs typeface="+mj-cs"/>
              </a:rPr>
              <a:t>TOTALE UITGAWES R  493,616,273 </a:t>
            </a:r>
          </a:p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ZA" sz="2800" b="1" i="0" u="none" strike="noStrike" kern="1200" cap="none" spc="0" normalizeH="0" baseline="0" noProof="0" dirty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Calibri Light" panose="020F0302020204030204"/>
              <a:ea typeface="+mj-ea"/>
              <a:cs typeface="+mj-cs"/>
            </a:endParaRPr>
          </a:p>
        </p:txBody>
      </p:sp>
    </p:spTree>
    <p:custDataLst>
      <p:tags r:id="rId1"/>
    </p:custDataLst>
    <p:extLst>
      <p:ext uri="{BB962C8B-B14F-4D97-AF65-F5344CB8AC3E}">
        <p14:creationId xmlns:p14="http://schemas.microsoft.com/office/powerpoint/2010/main" val="40344598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1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1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1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SMARTBOX_SB6" val="snTsFZ8Y/CBJMgu9y8Dq8/H4Owf5ZP/3"/>
  <p:tag name="SMARTBOX_SB8" val="0iCA1Z23kaaMiGZOE1yeGg=="/>
  <p:tag name="SMARTBOX_SB7" val="U8/1IBd/oCkOa3RV9JIGzg==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ljdaNviGkeHob23qOkiCQ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rzeEFIP.Ei5yEnCfpKiJg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eNAe8ZTEEyKIIjjGV93sg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FTUOUbyN0kCIIzcNAHpeTQ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v0Bmol0Qk2izE3K1YLByA"/>
</p:tagLst>
</file>

<file path=ppt/theme/theme1.xml><?xml version="1.0" encoding="utf-8"?>
<a:theme xmlns:a="http://schemas.openxmlformats.org/drawingml/2006/main" name="WCG-PPT Master-121022-amc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Ecology 16x9">
  <a:themeElements>
    <a:clrScheme name="Ecology">
      <a:dk1>
        <a:srgbClr val="4D3E2F"/>
      </a:dk1>
      <a:lt1>
        <a:sysClr val="window" lastClr="FFFFFF"/>
      </a:lt1>
      <a:dk2>
        <a:srgbClr val="000000"/>
      </a:dk2>
      <a:lt2>
        <a:srgbClr val="DDDDDD"/>
      </a:lt2>
      <a:accent1>
        <a:srgbClr val="8BAA00"/>
      </a:accent1>
      <a:accent2>
        <a:srgbClr val="2A6CB2"/>
      </a:accent2>
      <a:accent3>
        <a:srgbClr val="795837"/>
      </a:accent3>
      <a:accent4>
        <a:srgbClr val="D18316"/>
      </a:accent4>
      <a:accent5>
        <a:srgbClr val="79B4F0"/>
      </a:accent5>
      <a:accent6>
        <a:srgbClr val="CDC80F"/>
      </a:accent6>
      <a:hlink>
        <a:srgbClr val="2A6CB2"/>
      </a:hlink>
      <a:folHlink>
        <a:srgbClr val="808080"/>
      </a:folHlink>
    </a:clrScheme>
    <a:fontScheme name="Corbel">
      <a:maj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orbel" panose="020B0503020204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Nature ecology education photo presentation.potx" id="{C2041BFC-79DD-469A-9C9C-CE3A45FF64F3}" vid="{F6D325B2-35D9-40C5-B4CD-C0A8483D5659}"/>
    </a:ext>
  </a:extLst>
</a:theme>
</file>

<file path=ppt/theme/theme3.xml><?xml version="1.0" encoding="utf-8"?>
<a:theme xmlns:a="http://schemas.openxmlformats.org/drawingml/2006/main" name="3_WCG-PPT Master-121022-amc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4.xml><?xml version="1.0" encoding="utf-8"?>
<a:theme xmlns:a="http://schemas.openxmlformats.org/drawingml/2006/main" name="1_WCG-PPT Master-121022-amc">
  <a:themeElements>
    <a:clrScheme name="Custom 18">
      <a:dk1>
        <a:sysClr val="windowText" lastClr="000000"/>
      </a:dk1>
      <a:lt1>
        <a:sysClr val="window" lastClr="FFFFFF"/>
      </a:lt1>
      <a:dk2>
        <a:srgbClr val="003399"/>
      </a:dk2>
      <a:lt2>
        <a:srgbClr val="3377FF"/>
      </a:lt2>
      <a:accent1>
        <a:srgbClr val="73AFB6"/>
      </a:accent1>
      <a:accent2>
        <a:srgbClr val="956E8E"/>
      </a:accent2>
      <a:accent3>
        <a:srgbClr val="998F86"/>
      </a:accent3>
      <a:accent4>
        <a:srgbClr val="C4BEB8"/>
      </a:accent4>
      <a:accent5>
        <a:srgbClr val="5C8727"/>
      </a:accent5>
      <a:accent6>
        <a:srgbClr val="F89728"/>
      </a:accent6>
      <a:hlink>
        <a:srgbClr val="B5121B"/>
      </a:hlink>
      <a:folHlink>
        <a:srgbClr val="998F86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5.xml><?xml version="1.0" encoding="utf-8"?>
<a:theme xmlns:a="http://schemas.openxmlformats.org/drawingml/2006/main" name="5_WCG-PPT Master-121022-amc">
  <a:themeElements>
    <a:clrScheme name="Blue II">
      <a:dk1>
        <a:sysClr val="windowText" lastClr="000000"/>
      </a:dk1>
      <a:lt1>
        <a:sysClr val="window" lastClr="FFFFFF"/>
      </a:lt1>
      <a:dk2>
        <a:srgbClr val="335B74"/>
      </a:dk2>
      <a:lt2>
        <a:srgbClr val="DFE3E5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6EAC1C"/>
      </a:hlink>
      <a:folHlink>
        <a:srgbClr val="B26B02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Times New Roman"/>
      <a:font script="Hebr" typeface="Times New Roman"/>
      <a:font script="Thai" typeface="Angsana New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ＭＳ Ｐゴシック"/>
      <a:font script="Hang" typeface="맑은 고딕"/>
      <a:font script="Hans" typeface="宋体"/>
      <a:font script="Hant" typeface="新細明體"/>
      <a:font script="Arab" typeface="Arial"/>
      <a:font script="Hebr" typeface="Arial"/>
      <a:font script="Thai" typeface="Cordia New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9538</TotalTime>
  <Words>2240</Words>
  <Application>Microsoft Office PowerPoint</Application>
  <PresentationFormat>Widescreen</PresentationFormat>
  <Paragraphs>520</Paragraphs>
  <Slides>26</Slides>
  <Notes>25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5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6</vt:i4>
      </vt:variant>
    </vt:vector>
  </HeadingPairs>
  <TitlesOfParts>
    <vt:vector size="39" baseType="lpstr">
      <vt:lpstr>Arial</vt:lpstr>
      <vt:lpstr>Bradley Hand ITC</vt:lpstr>
      <vt:lpstr>Calibri</vt:lpstr>
      <vt:lpstr>Calibri Light</vt:lpstr>
      <vt:lpstr>Century Gothic</vt:lpstr>
      <vt:lpstr>Corbel</vt:lpstr>
      <vt:lpstr>Times New Roman</vt:lpstr>
      <vt:lpstr>WCG-PPT Master-121022-amc</vt:lpstr>
      <vt:lpstr>Ecology 16x9</vt:lpstr>
      <vt:lpstr>3_WCG-PPT Master-121022-amc</vt:lpstr>
      <vt:lpstr>1_WCG-PPT Master-121022-amc</vt:lpstr>
      <vt:lpstr>5_WCG-PPT Master-121022-amc</vt:lpstr>
      <vt:lpstr>think-cell Slide</vt:lpstr>
      <vt:lpstr>PowerPoint Presentation</vt:lpstr>
      <vt:lpstr>PowerPoint Presentation</vt:lpstr>
      <vt:lpstr>MUNICIPALITY  ●  BERGRIVIER  ●  MUNISIPALITEI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MUNICIPALITY  ●  BERGRIVIER  ●  MUNISIPALITEIT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Stuur u kommentaar na sb@bergmun.org.za of cfo@bergmun.org.za voor 5 Mei 2022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lletta van Sittert</dc:creator>
  <cp:lastModifiedBy>Alletta van Sittert</cp:lastModifiedBy>
  <cp:revision>191</cp:revision>
  <cp:lastPrinted>2022-04-11T13:19:17Z</cp:lastPrinted>
  <dcterms:created xsi:type="dcterms:W3CDTF">2019-09-04T06:27:00Z</dcterms:created>
  <dcterms:modified xsi:type="dcterms:W3CDTF">2022-04-12T10:45:36Z</dcterms:modified>
</cp:coreProperties>
</file>